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1" r:id="rId4"/>
  </p:sldMasterIdLst>
  <p:notesMasterIdLst>
    <p:notesMasterId r:id="rId17"/>
  </p:notesMasterIdLst>
  <p:sldIdLst>
    <p:sldId id="256" r:id="rId5"/>
    <p:sldId id="272" r:id="rId6"/>
    <p:sldId id="280" r:id="rId7"/>
    <p:sldId id="281" r:id="rId8"/>
    <p:sldId id="282" r:id="rId9"/>
    <p:sldId id="283" r:id="rId10"/>
    <p:sldId id="284" r:id="rId11"/>
    <p:sldId id="285" r:id="rId12"/>
    <p:sldId id="286" r:id="rId13"/>
    <p:sldId id="287" r:id="rId14"/>
    <p:sldId id="288" r:id="rId15"/>
    <p:sldId id="265" r:id="rId16"/>
  </p:sldIdLst>
  <p:sldSz cx="18288000" cy="10287000"/>
  <p:notesSz cx="6858000" cy="9144000"/>
  <p:embeddedFontLst>
    <p:embeddedFont>
      <p:font typeface="Fuchs" pitchFamily="2" charset="0"/>
      <p:regular r:id="rId18"/>
      <p:bold r:id="rId19"/>
      <p:italic r:id="rId20"/>
      <p:boldItalic r:id="rId21"/>
    </p:embeddedFont>
    <p:embeddedFont>
      <p:font typeface="Fuchs 1" panose="020B0604020202020204" charset="0"/>
      <p:regular r:id="rId22"/>
    </p:embeddedFont>
    <p:embeddedFont>
      <p:font typeface="Fuchs Black" pitchFamily="2" charset="0"/>
      <p:bold r:id="rId23"/>
    </p:embeddedFont>
  </p:embeddedFont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CCDFC6-4DD4-8384-9EAF-A1BD8B166441}" v="2772" dt="2025-05-27T12:51:33.523"/>
    <p1510:client id="{98F8271B-2706-86B7-DF84-BA5B1137799E}" v="6517" dt="2025-05-26T14:47:58.260"/>
    <p1510:client id="{C9DAAD5C-FC09-7B85-C640-7B84504B1786}" v="1003" dt="2025-05-27T10:47:58.15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9" autoAdjust="0"/>
    <p:restoredTop sz="94660"/>
  </p:normalViewPr>
  <p:slideViewPr>
    <p:cSldViewPr snapToGrid="0">
      <p:cViewPr varScale="1">
        <p:scale>
          <a:sx n="39" d="100"/>
          <a:sy n="39" d="100"/>
        </p:scale>
        <p:origin x="1132" y="52"/>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3.fntdata"/><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sa Brunner | HitchOn" userId="S::l.brunner@hitchon.de::63f5a940-6678-4de0-903f-62a796404657" providerId="AD" clId="Web-{98F8271B-2706-86B7-DF84-BA5B1137799E}"/>
    <pc:docChg chg="modSld">
      <pc:chgData name="Lisa Brunner | HitchOn" userId="S::l.brunner@hitchon.de::63f5a940-6678-4de0-903f-62a796404657" providerId="AD" clId="Web-{98F8271B-2706-86B7-DF84-BA5B1137799E}" dt="2025-05-26T14:47:54.588" v="3203" actId="20577"/>
      <pc:docMkLst>
        <pc:docMk/>
      </pc:docMkLst>
      <pc:sldChg chg="modSp">
        <pc:chgData name="Lisa Brunner | HitchOn" userId="S::l.brunner@hitchon.de::63f5a940-6678-4de0-903f-62a796404657" providerId="AD" clId="Web-{98F8271B-2706-86B7-DF84-BA5B1137799E}" dt="2025-05-26T11:16:42.747" v="51" actId="20577"/>
        <pc:sldMkLst>
          <pc:docMk/>
          <pc:sldMk cId="0" sldId="256"/>
        </pc:sldMkLst>
        <pc:spChg chg="mod">
          <ac:chgData name="Lisa Brunner | HitchOn" userId="S::l.brunner@hitchon.de::63f5a940-6678-4de0-903f-62a796404657" providerId="AD" clId="Web-{98F8271B-2706-86B7-DF84-BA5B1137799E}" dt="2025-05-26T11:16:21.575" v="4" actId="20577"/>
          <ac:spMkLst>
            <pc:docMk/>
            <pc:sldMk cId="0" sldId="256"/>
            <ac:spMk id="8" creationId="{00000000-0000-0000-0000-000000000000}"/>
          </ac:spMkLst>
        </pc:spChg>
        <pc:spChg chg="mod">
          <ac:chgData name="Lisa Brunner | HitchOn" userId="S::l.brunner@hitchon.de::63f5a940-6678-4de0-903f-62a796404657" providerId="AD" clId="Web-{98F8271B-2706-86B7-DF84-BA5B1137799E}" dt="2025-05-26T11:16:42.747" v="51" actId="20577"/>
          <ac:spMkLst>
            <pc:docMk/>
            <pc:sldMk cId="0" sldId="256"/>
            <ac:spMk id="9" creationId="{00000000-0000-0000-0000-000000000000}"/>
          </ac:spMkLst>
        </pc:spChg>
      </pc:sldChg>
      <pc:sldChg chg="modSp">
        <pc:chgData name="Lisa Brunner | HitchOn" userId="S::l.brunner@hitchon.de::63f5a940-6678-4de0-903f-62a796404657" providerId="AD" clId="Web-{98F8271B-2706-86B7-DF84-BA5B1137799E}" dt="2025-05-26T14:47:07.946" v="3190" actId="20577"/>
        <pc:sldMkLst>
          <pc:docMk/>
          <pc:sldMk cId="0" sldId="260"/>
        </pc:sldMkLst>
        <pc:spChg chg="mod">
          <ac:chgData name="Lisa Brunner | HitchOn" userId="S::l.brunner@hitchon.de::63f5a940-6678-4de0-903f-62a796404657" providerId="AD" clId="Web-{98F8271B-2706-86B7-DF84-BA5B1137799E}" dt="2025-05-26T14:47:07.946" v="3190" actId="20577"/>
          <ac:spMkLst>
            <pc:docMk/>
            <pc:sldMk cId="0" sldId="260"/>
            <ac:spMk id="3" creationId="{00000000-0000-0000-0000-000000000000}"/>
          </ac:spMkLst>
        </pc:spChg>
        <pc:picChg chg="mod">
          <ac:chgData name="Lisa Brunner | HitchOn" userId="S::l.brunner@hitchon.de::63f5a940-6678-4de0-903f-62a796404657" providerId="AD" clId="Web-{98F8271B-2706-86B7-DF84-BA5B1137799E}" dt="2025-05-26T12:05:20.963" v="135" actId="1076"/>
          <ac:picMkLst>
            <pc:docMk/>
            <pc:sldMk cId="0" sldId="260"/>
            <ac:picMk id="8" creationId="{0AAAA900-7AB2-8C53-B51E-FF1EA548A603}"/>
          </ac:picMkLst>
        </pc:picChg>
      </pc:sldChg>
      <pc:sldChg chg="modSp">
        <pc:chgData name="Lisa Brunner | HitchOn" userId="S::l.brunner@hitchon.de::63f5a940-6678-4de0-903f-62a796404657" providerId="AD" clId="Web-{98F8271B-2706-86B7-DF84-BA5B1137799E}" dt="2025-05-26T14:47:32.462" v="3202" actId="20577"/>
        <pc:sldMkLst>
          <pc:docMk/>
          <pc:sldMk cId="42334852" sldId="266"/>
        </pc:sldMkLst>
        <pc:spChg chg="mod">
          <ac:chgData name="Lisa Brunner | HitchOn" userId="S::l.brunner@hitchon.de::63f5a940-6678-4de0-903f-62a796404657" providerId="AD" clId="Web-{98F8271B-2706-86B7-DF84-BA5B1137799E}" dt="2025-05-26T14:47:32.462" v="3202" actId="20577"/>
          <ac:spMkLst>
            <pc:docMk/>
            <pc:sldMk cId="42334852" sldId="266"/>
            <ac:spMk id="3" creationId="{00000000-0000-0000-0000-000000000000}"/>
          </ac:spMkLst>
        </pc:spChg>
        <pc:spChg chg="mod">
          <ac:chgData name="Lisa Brunner | HitchOn" userId="S::l.brunner@hitchon.de::63f5a940-6678-4de0-903f-62a796404657" providerId="AD" clId="Web-{98F8271B-2706-86B7-DF84-BA5B1137799E}" dt="2025-05-26T13:52:11.878" v="1508" actId="1076"/>
          <ac:spMkLst>
            <pc:docMk/>
            <pc:sldMk cId="42334852" sldId="266"/>
            <ac:spMk id="7" creationId="{00000000-0000-0000-0000-000000000000}"/>
          </ac:spMkLst>
        </pc:spChg>
      </pc:sldChg>
      <pc:sldChg chg="modSp">
        <pc:chgData name="Lisa Brunner | HitchOn" userId="S::l.brunner@hitchon.de::63f5a940-6678-4de0-903f-62a796404657" providerId="AD" clId="Web-{98F8271B-2706-86B7-DF84-BA5B1137799E}" dt="2025-05-26T14:47:54.588" v="3203" actId="20577"/>
        <pc:sldMkLst>
          <pc:docMk/>
          <pc:sldMk cId="1832496959" sldId="268"/>
        </pc:sldMkLst>
        <pc:spChg chg="mod">
          <ac:chgData name="Lisa Brunner | HitchOn" userId="S::l.brunner@hitchon.de::63f5a940-6678-4de0-903f-62a796404657" providerId="AD" clId="Web-{98F8271B-2706-86B7-DF84-BA5B1137799E}" dt="2025-05-26T14:47:54.588" v="3203" actId="20577"/>
          <ac:spMkLst>
            <pc:docMk/>
            <pc:sldMk cId="1832496959" sldId="268"/>
            <ac:spMk id="3" creationId="{5709AA7E-A302-7ABC-9006-E55103DB8BE3}"/>
          </ac:spMkLst>
        </pc:spChg>
      </pc:sldChg>
    </pc:docChg>
  </pc:docChgLst>
  <pc:docChgLst>
    <pc:chgData name="Celine Belzer | HitchOn" userId="0c3c5689-58ec-4fa3-890c-7af096e834b0" providerId="ADAL" clId="{8EE07B6C-97B5-4C56-854E-EAC7FD216CEB}"/>
    <pc:docChg chg="undo redo custSel modSld">
      <pc:chgData name="Celine Belzer | HitchOn" userId="0c3c5689-58ec-4fa3-890c-7af096e834b0" providerId="ADAL" clId="{8EE07B6C-97B5-4C56-854E-EAC7FD216CEB}" dt="2025-01-28T09:57:04.725" v="147"/>
      <pc:docMkLst>
        <pc:docMk/>
      </pc:docMkLst>
      <pc:sldChg chg="modSp mod">
        <pc:chgData name="Celine Belzer | HitchOn" userId="0c3c5689-58ec-4fa3-890c-7af096e834b0" providerId="ADAL" clId="{8EE07B6C-97B5-4C56-854E-EAC7FD216CEB}" dt="2025-01-24T12:28:05.879" v="0" actId="2711"/>
        <pc:sldMkLst>
          <pc:docMk/>
          <pc:sldMk cId="0" sldId="256"/>
        </pc:sldMkLst>
        <pc:spChg chg="mod">
          <ac:chgData name="Celine Belzer | HitchOn" userId="0c3c5689-58ec-4fa3-890c-7af096e834b0" providerId="ADAL" clId="{8EE07B6C-97B5-4C56-854E-EAC7FD216CEB}" dt="2025-01-24T12:28:05.879" v="0" actId="2711"/>
          <ac:spMkLst>
            <pc:docMk/>
            <pc:sldMk cId="0" sldId="256"/>
            <ac:spMk id="9" creationId="{00000000-0000-0000-0000-000000000000}"/>
          </ac:spMkLst>
        </pc:spChg>
      </pc:sldChg>
      <pc:sldChg chg="modSp mod">
        <pc:chgData name="Celine Belzer | HitchOn" userId="0c3c5689-58ec-4fa3-890c-7af096e834b0" providerId="ADAL" clId="{8EE07B6C-97B5-4C56-854E-EAC7FD216CEB}" dt="2025-01-28T09:57:04.725" v="147"/>
        <pc:sldMkLst>
          <pc:docMk/>
          <pc:sldMk cId="0" sldId="260"/>
        </pc:sldMkLst>
        <pc:spChg chg="mod">
          <ac:chgData name="Celine Belzer | HitchOn" userId="0c3c5689-58ec-4fa3-890c-7af096e834b0" providerId="ADAL" clId="{8EE07B6C-97B5-4C56-854E-EAC7FD216CEB}" dt="2025-01-28T09:57:04.725" v="147"/>
          <ac:spMkLst>
            <pc:docMk/>
            <pc:sldMk cId="0" sldId="260"/>
            <ac:spMk id="3" creationId="{00000000-0000-0000-0000-000000000000}"/>
          </ac:spMkLst>
        </pc:spChg>
      </pc:sldChg>
      <pc:sldChg chg="modSp mod">
        <pc:chgData name="Celine Belzer | HitchOn" userId="0c3c5689-58ec-4fa3-890c-7af096e834b0" providerId="ADAL" clId="{8EE07B6C-97B5-4C56-854E-EAC7FD216CEB}" dt="2025-01-28T09:56:15.928" v="144" actId="20577"/>
        <pc:sldMkLst>
          <pc:docMk/>
          <pc:sldMk cId="42334852" sldId="266"/>
        </pc:sldMkLst>
        <pc:spChg chg="mod">
          <ac:chgData name="Celine Belzer | HitchOn" userId="0c3c5689-58ec-4fa3-890c-7af096e834b0" providerId="ADAL" clId="{8EE07B6C-97B5-4C56-854E-EAC7FD216CEB}" dt="2025-01-28T09:56:15.928" v="144" actId="20577"/>
          <ac:spMkLst>
            <pc:docMk/>
            <pc:sldMk cId="42334852" sldId="266"/>
            <ac:spMk id="3" creationId="{00000000-0000-0000-0000-000000000000}"/>
          </ac:spMkLst>
        </pc:spChg>
      </pc:sldChg>
      <pc:sldChg chg="modSp mod">
        <pc:chgData name="Celine Belzer | HitchOn" userId="0c3c5689-58ec-4fa3-890c-7af096e834b0" providerId="ADAL" clId="{8EE07B6C-97B5-4C56-854E-EAC7FD216CEB}" dt="2025-01-27T14:54:16.361" v="20" actId="14100"/>
        <pc:sldMkLst>
          <pc:docMk/>
          <pc:sldMk cId="4221703699" sldId="267"/>
        </pc:sldMkLst>
        <pc:spChg chg="mod">
          <ac:chgData name="Celine Belzer | HitchOn" userId="0c3c5689-58ec-4fa3-890c-7af096e834b0" providerId="ADAL" clId="{8EE07B6C-97B5-4C56-854E-EAC7FD216CEB}" dt="2025-01-27T14:54:16.361" v="20" actId="14100"/>
          <ac:spMkLst>
            <pc:docMk/>
            <pc:sldMk cId="4221703699" sldId="267"/>
            <ac:spMk id="3" creationId="{00000000-0000-0000-0000-000000000000}"/>
          </ac:spMkLst>
        </pc:spChg>
      </pc:sldChg>
      <pc:sldChg chg="modSp mod">
        <pc:chgData name="Celine Belzer | HitchOn" userId="0c3c5689-58ec-4fa3-890c-7af096e834b0" providerId="ADAL" clId="{8EE07B6C-97B5-4C56-854E-EAC7FD216CEB}" dt="2025-01-28T09:56:21.899" v="146" actId="20577"/>
        <pc:sldMkLst>
          <pc:docMk/>
          <pc:sldMk cId="1832496959" sldId="268"/>
        </pc:sldMkLst>
        <pc:spChg chg="mod">
          <ac:chgData name="Celine Belzer | HitchOn" userId="0c3c5689-58ec-4fa3-890c-7af096e834b0" providerId="ADAL" clId="{8EE07B6C-97B5-4C56-854E-EAC7FD216CEB}" dt="2025-01-28T09:56:21.899" v="146" actId="20577"/>
          <ac:spMkLst>
            <pc:docMk/>
            <pc:sldMk cId="1832496959" sldId="268"/>
            <ac:spMk id="3" creationId="{5709AA7E-A302-7ABC-9006-E55103DB8BE3}"/>
          </ac:spMkLst>
        </pc:spChg>
      </pc:sldChg>
    </pc:docChg>
  </pc:docChgLst>
  <pc:docChgLst>
    <pc:chgData name="Hanna Seitz, MAC-CC" userId="S::hanna.seitz_schwaebisch-hall.de#ext#@hitchongmbh139.onmicrosoft.com::d90fdfbe-cca5-47ed-85d6-5cae77c5c005" providerId="AD" clId="Web-{DE7AC054-9FA8-E566-E277-5DA02269BBA3}"/>
    <pc:docChg chg="modSld">
      <pc:chgData name="Hanna Seitz, MAC-CC" userId="S::hanna.seitz_schwaebisch-hall.de#ext#@hitchongmbh139.onmicrosoft.com::d90fdfbe-cca5-47ed-85d6-5cae77c5c005" providerId="AD" clId="Web-{DE7AC054-9FA8-E566-E277-5DA02269BBA3}" dt="2025-01-27T08:06:48.920" v="0" actId="20577"/>
      <pc:docMkLst>
        <pc:docMk/>
      </pc:docMkLst>
      <pc:sldChg chg="modSp">
        <pc:chgData name="Hanna Seitz, MAC-CC" userId="S::hanna.seitz_schwaebisch-hall.de#ext#@hitchongmbh139.onmicrosoft.com::d90fdfbe-cca5-47ed-85d6-5cae77c5c005" providerId="AD" clId="Web-{DE7AC054-9FA8-E566-E277-5DA02269BBA3}" dt="2025-01-27T08:06:48.920" v="0" actId="20577"/>
        <pc:sldMkLst>
          <pc:docMk/>
          <pc:sldMk cId="0" sldId="260"/>
        </pc:sldMkLst>
        <pc:spChg chg="mod">
          <ac:chgData name="Hanna Seitz, MAC-CC" userId="S::hanna.seitz_schwaebisch-hall.de#ext#@hitchongmbh139.onmicrosoft.com::d90fdfbe-cca5-47ed-85d6-5cae77c5c005" providerId="AD" clId="Web-{DE7AC054-9FA8-E566-E277-5DA02269BBA3}" dt="2025-01-27T08:06:48.920" v="0" actId="20577"/>
          <ac:spMkLst>
            <pc:docMk/>
            <pc:sldMk cId="0" sldId="260"/>
            <ac:spMk id="3" creationId="{00000000-0000-0000-0000-000000000000}"/>
          </ac:spMkLst>
        </pc:spChg>
      </pc:sldChg>
    </pc:docChg>
  </pc:docChgLst>
  <pc:docChgLst>
    <pc:chgData name="Lisa Brunner | HitchOn" userId="S::l.brunner@hitchon.de::63f5a940-6678-4de0-903f-62a796404657" providerId="AD" clId="Web-{80CCDFC6-4DD4-8384-9EAF-A1BD8B166441}"/>
    <pc:docChg chg="modSld">
      <pc:chgData name="Lisa Brunner | HitchOn" userId="S::l.brunner@hitchon.de::63f5a940-6678-4de0-903f-62a796404657" providerId="AD" clId="Web-{80CCDFC6-4DD4-8384-9EAF-A1BD8B166441}" dt="2025-05-27T12:51:30.508" v="1362" actId="20577"/>
      <pc:docMkLst>
        <pc:docMk/>
      </pc:docMkLst>
      <pc:sldChg chg="modSp">
        <pc:chgData name="Lisa Brunner | HitchOn" userId="S::l.brunner@hitchon.de::63f5a940-6678-4de0-903f-62a796404657" providerId="AD" clId="Web-{80CCDFC6-4DD4-8384-9EAF-A1BD8B166441}" dt="2025-05-27T12:49:14.599" v="1327" actId="20577"/>
        <pc:sldMkLst>
          <pc:docMk/>
          <pc:sldMk cId="0" sldId="256"/>
        </pc:sldMkLst>
        <pc:spChg chg="mod">
          <ac:chgData name="Lisa Brunner | HitchOn" userId="S::l.brunner@hitchon.de::63f5a940-6678-4de0-903f-62a796404657" providerId="AD" clId="Web-{80CCDFC6-4DD4-8384-9EAF-A1BD8B166441}" dt="2025-05-27T12:49:14.599" v="1327" actId="20577"/>
          <ac:spMkLst>
            <pc:docMk/>
            <pc:sldMk cId="0" sldId="256"/>
            <ac:spMk id="9" creationId="{00000000-0000-0000-0000-000000000000}"/>
          </ac:spMkLst>
        </pc:spChg>
      </pc:sldChg>
      <pc:sldChg chg="modSp">
        <pc:chgData name="Lisa Brunner | HitchOn" userId="S::l.brunner@hitchon.de::63f5a940-6678-4de0-903f-62a796404657" providerId="AD" clId="Web-{80CCDFC6-4DD4-8384-9EAF-A1BD8B166441}" dt="2025-05-27T12:49:55.538" v="1333" actId="20577"/>
        <pc:sldMkLst>
          <pc:docMk/>
          <pc:sldMk cId="0" sldId="260"/>
        </pc:sldMkLst>
        <pc:spChg chg="mod">
          <ac:chgData name="Lisa Brunner | HitchOn" userId="S::l.brunner@hitchon.de::63f5a940-6678-4de0-903f-62a796404657" providerId="AD" clId="Web-{80CCDFC6-4DD4-8384-9EAF-A1BD8B166441}" dt="2025-05-27T12:49:55.538" v="1333" actId="20577"/>
          <ac:spMkLst>
            <pc:docMk/>
            <pc:sldMk cId="0" sldId="260"/>
            <ac:spMk id="3" creationId="{00000000-0000-0000-0000-000000000000}"/>
          </ac:spMkLst>
        </pc:spChg>
        <pc:picChg chg="mod">
          <ac:chgData name="Lisa Brunner | HitchOn" userId="S::l.brunner@hitchon.de::63f5a940-6678-4de0-903f-62a796404657" providerId="AD" clId="Web-{80CCDFC6-4DD4-8384-9EAF-A1BD8B166441}" dt="2025-05-27T11:53:19.774" v="60" actId="1076"/>
          <ac:picMkLst>
            <pc:docMk/>
            <pc:sldMk cId="0" sldId="260"/>
            <ac:picMk id="8" creationId="{0AAAA900-7AB2-8C53-B51E-FF1EA548A603}"/>
          </ac:picMkLst>
        </pc:picChg>
      </pc:sldChg>
      <pc:sldChg chg="modSp">
        <pc:chgData name="Lisa Brunner | HitchOn" userId="S::l.brunner@hitchon.de::63f5a940-6678-4de0-903f-62a796404657" providerId="AD" clId="Web-{80CCDFC6-4DD4-8384-9EAF-A1BD8B166441}" dt="2025-05-27T12:50:43.710" v="1339" actId="20577"/>
        <pc:sldMkLst>
          <pc:docMk/>
          <pc:sldMk cId="42334852" sldId="266"/>
        </pc:sldMkLst>
        <pc:spChg chg="mod">
          <ac:chgData name="Lisa Brunner | HitchOn" userId="S::l.brunner@hitchon.de::63f5a940-6678-4de0-903f-62a796404657" providerId="AD" clId="Web-{80CCDFC6-4DD4-8384-9EAF-A1BD8B166441}" dt="2025-05-27T12:50:43.710" v="1339" actId="20577"/>
          <ac:spMkLst>
            <pc:docMk/>
            <pc:sldMk cId="42334852" sldId="266"/>
            <ac:spMk id="3" creationId="{00000000-0000-0000-0000-000000000000}"/>
          </ac:spMkLst>
        </pc:spChg>
      </pc:sldChg>
      <pc:sldChg chg="modSp">
        <pc:chgData name="Lisa Brunner | HitchOn" userId="S::l.brunner@hitchon.de::63f5a940-6678-4de0-903f-62a796404657" providerId="AD" clId="Web-{80CCDFC6-4DD4-8384-9EAF-A1BD8B166441}" dt="2025-05-27T12:51:30.508" v="1362" actId="20577"/>
        <pc:sldMkLst>
          <pc:docMk/>
          <pc:sldMk cId="1832496959" sldId="268"/>
        </pc:sldMkLst>
        <pc:spChg chg="mod">
          <ac:chgData name="Lisa Brunner | HitchOn" userId="S::l.brunner@hitchon.de::63f5a940-6678-4de0-903f-62a796404657" providerId="AD" clId="Web-{80CCDFC6-4DD4-8384-9EAF-A1BD8B166441}" dt="2025-05-27T12:51:30.508" v="1362" actId="20577"/>
          <ac:spMkLst>
            <pc:docMk/>
            <pc:sldMk cId="1832496959" sldId="268"/>
            <ac:spMk id="3" creationId="{5709AA7E-A302-7ABC-9006-E55103DB8BE3}"/>
          </ac:spMkLst>
        </pc:spChg>
      </pc:sldChg>
    </pc:docChg>
  </pc:docChgLst>
  <pc:docChgLst>
    <pc:chgData name="Celine Belzer | HitchOn" userId="0c3c5689-58ec-4fa3-890c-7af096e834b0" providerId="ADAL" clId="{6B5E9011-EFE3-45C1-BD21-35DB3E33A9B1}"/>
    <pc:docChg chg="addSld delSld modSld">
      <pc:chgData name="Celine Belzer | HitchOn" userId="0c3c5689-58ec-4fa3-890c-7af096e834b0" providerId="ADAL" clId="{6B5E9011-EFE3-45C1-BD21-35DB3E33A9B1}" dt="2024-07-01T13:06:49.525" v="5" actId="20577"/>
      <pc:docMkLst>
        <pc:docMk/>
      </pc:docMkLst>
      <pc:sldChg chg="modSp mod">
        <pc:chgData name="Celine Belzer | HitchOn" userId="0c3c5689-58ec-4fa3-890c-7af096e834b0" providerId="ADAL" clId="{6B5E9011-EFE3-45C1-BD21-35DB3E33A9B1}" dt="2024-07-01T13:06:49.525" v="5" actId="20577"/>
        <pc:sldMkLst>
          <pc:docMk/>
          <pc:sldMk cId="42334852" sldId="266"/>
        </pc:sldMkLst>
      </pc:sldChg>
      <pc:sldChg chg="new del">
        <pc:chgData name="Celine Belzer | HitchOn" userId="0c3c5689-58ec-4fa3-890c-7af096e834b0" providerId="ADAL" clId="{6B5E9011-EFE3-45C1-BD21-35DB3E33A9B1}" dt="2024-07-01T13:04:01.325" v="1" actId="47"/>
        <pc:sldMkLst>
          <pc:docMk/>
          <pc:sldMk cId="1973810065" sldId="267"/>
        </pc:sldMkLst>
      </pc:sldChg>
    </pc:docChg>
  </pc:docChgLst>
  <pc:docChgLst>
    <pc:chgData name="Lisa Brunner | HitchOn" userId="S::l.brunner@hitchon.de::63f5a940-6678-4de0-903f-62a796404657" providerId="AD" clId="Web-{C9DAAD5C-FC09-7B85-C640-7B84504B1786}"/>
    <pc:docChg chg="modSld">
      <pc:chgData name="Lisa Brunner | HitchOn" userId="S::l.brunner@hitchon.de::63f5a940-6678-4de0-903f-62a796404657" providerId="AD" clId="Web-{C9DAAD5C-FC09-7B85-C640-7B84504B1786}" dt="2025-05-27T10:47:57.682" v="516" actId="20577"/>
      <pc:docMkLst>
        <pc:docMk/>
      </pc:docMkLst>
      <pc:sldChg chg="modSp">
        <pc:chgData name="Lisa Brunner | HitchOn" userId="S::l.brunner@hitchon.de::63f5a940-6678-4de0-903f-62a796404657" providerId="AD" clId="Web-{C9DAAD5C-FC09-7B85-C640-7B84504B1786}" dt="2025-05-27T10:34:48.764" v="66" actId="20577"/>
        <pc:sldMkLst>
          <pc:docMk/>
          <pc:sldMk cId="0" sldId="256"/>
        </pc:sldMkLst>
        <pc:spChg chg="mod">
          <ac:chgData name="Lisa Brunner | HitchOn" userId="S::l.brunner@hitchon.de::63f5a940-6678-4de0-903f-62a796404657" providerId="AD" clId="Web-{C9DAAD5C-FC09-7B85-C640-7B84504B1786}" dt="2025-05-27T10:34:48.764" v="66" actId="20577"/>
          <ac:spMkLst>
            <pc:docMk/>
            <pc:sldMk cId="0" sldId="256"/>
            <ac:spMk id="9" creationId="{00000000-0000-0000-0000-000000000000}"/>
          </ac:spMkLst>
        </pc:spChg>
      </pc:sldChg>
      <pc:sldChg chg="modSp">
        <pc:chgData name="Lisa Brunner | HitchOn" userId="S::l.brunner@hitchon.de::63f5a940-6678-4de0-903f-62a796404657" providerId="AD" clId="Web-{C9DAAD5C-FC09-7B85-C640-7B84504B1786}" dt="2025-05-27T10:46:26.290" v="477" actId="20577"/>
        <pc:sldMkLst>
          <pc:docMk/>
          <pc:sldMk cId="0" sldId="260"/>
        </pc:sldMkLst>
        <pc:spChg chg="mod">
          <ac:chgData name="Lisa Brunner | HitchOn" userId="S::l.brunner@hitchon.de::63f5a940-6678-4de0-903f-62a796404657" providerId="AD" clId="Web-{C9DAAD5C-FC09-7B85-C640-7B84504B1786}" dt="2025-05-27T10:46:26.290" v="477" actId="20577"/>
          <ac:spMkLst>
            <pc:docMk/>
            <pc:sldMk cId="0" sldId="260"/>
            <ac:spMk id="3" creationId="{00000000-0000-0000-0000-000000000000}"/>
          </ac:spMkLst>
        </pc:spChg>
      </pc:sldChg>
      <pc:sldChg chg="modSp">
        <pc:chgData name="Lisa Brunner | HitchOn" userId="S::l.brunner@hitchon.de::63f5a940-6678-4de0-903f-62a796404657" providerId="AD" clId="Web-{C9DAAD5C-FC09-7B85-C640-7B84504B1786}" dt="2025-05-27T10:47:57.682" v="516" actId="20577"/>
        <pc:sldMkLst>
          <pc:docMk/>
          <pc:sldMk cId="42334852" sldId="266"/>
        </pc:sldMkLst>
        <pc:spChg chg="mod">
          <ac:chgData name="Lisa Brunner | HitchOn" userId="S::l.brunner@hitchon.de::63f5a940-6678-4de0-903f-62a796404657" providerId="AD" clId="Web-{C9DAAD5C-FC09-7B85-C640-7B84504B1786}" dt="2025-05-27T10:47:57.682" v="516" actId="20577"/>
          <ac:spMkLst>
            <pc:docMk/>
            <pc:sldMk cId="42334852" sldId="266"/>
            <ac:spMk id="3" creationId="{00000000-0000-0000-0000-000000000000}"/>
          </ac:spMkLst>
        </pc:spChg>
      </pc:sldChg>
      <pc:sldChg chg="modSp">
        <pc:chgData name="Lisa Brunner | HitchOn" userId="S::l.brunner@hitchon.de::63f5a940-6678-4de0-903f-62a796404657" providerId="AD" clId="Web-{C9DAAD5C-FC09-7B85-C640-7B84504B1786}" dt="2025-05-27T10:43:36.928" v="350" actId="20577"/>
        <pc:sldMkLst>
          <pc:docMk/>
          <pc:sldMk cId="1832496959" sldId="268"/>
        </pc:sldMkLst>
        <pc:spChg chg="mod">
          <ac:chgData name="Lisa Brunner | HitchOn" userId="S::l.brunner@hitchon.de::63f5a940-6678-4de0-903f-62a796404657" providerId="AD" clId="Web-{C9DAAD5C-FC09-7B85-C640-7B84504B1786}" dt="2025-05-27T10:43:36.928" v="350" actId="20577"/>
          <ac:spMkLst>
            <pc:docMk/>
            <pc:sldMk cId="1832496959" sldId="268"/>
            <ac:spMk id="3" creationId="{5709AA7E-A302-7ABC-9006-E55103DB8BE3}"/>
          </ac:spMkLst>
        </pc:spChg>
      </pc:sldChg>
    </pc:docChg>
  </pc:docChgLst>
  <pc:docChgLst>
    <pc:chgData name="Anna Ullmann, MAC-CC" userId="S::anna.ullmann_schwaebisch-hall.de#ext#@hitchongmbh139.onmicrosoft.com::cee16b07-d955-473b-b344-dfc77e855654" providerId="AD" clId="Web-{1CC80582-279E-DA43-ADAB-06AD060F7B79}"/>
    <pc:docChg chg="modSld">
      <pc:chgData name="Anna Ullmann, MAC-CC" userId="S::anna.ullmann_schwaebisch-hall.de#ext#@hitchongmbh139.onmicrosoft.com::cee16b07-d955-473b-b344-dfc77e855654" providerId="AD" clId="Web-{1CC80582-279E-DA43-ADAB-06AD060F7B79}" dt="2024-07-02T07:04:06.672" v="3" actId="20577"/>
      <pc:docMkLst>
        <pc:docMk/>
      </pc:docMkLst>
      <pc:sldChg chg="modSp">
        <pc:chgData name="Anna Ullmann, MAC-CC" userId="S::anna.ullmann_schwaebisch-hall.de#ext#@hitchongmbh139.onmicrosoft.com::cee16b07-d955-473b-b344-dfc77e855654" providerId="AD" clId="Web-{1CC80582-279E-DA43-ADAB-06AD060F7B79}" dt="2024-07-02T07:04:06.672" v="3" actId="20577"/>
        <pc:sldMkLst>
          <pc:docMk/>
          <pc:sldMk cId="42334852" sldId="266"/>
        </pc:sldMkLst>
      </pc:sldChg>
    </pc:docChg>
  </pc:docChgLst>
  <pc:docChgLst>
    <pc:chgData name="Hanna Seitz, MAC-CC" userId="S::hanna.seitz_schwaebisch-hall.de#ext#@hitchongmbh139.onmicrosoft.com::d90fdfbe-cca5-47ed-85d6-5cae77c5c005" providerId="AD" clId="Web-{69B2E36E-76F0-78DE-53ED-4E60AB2EACC1}"/>
    <pc:docChg chg="addSld delSld modSld">
      <pc:chgData name="Hanna Seitz, MAC-CC" userId="S::hanna.seitz_schwaebisch-hall.de#ext#@hitchongmbh139.onmicrosoft.com::d90fdfbe-cca5-47ed-85d6-5cae77c5c005" providerId="AD" clId="Web-{69B2E36E-76F0-78DE-53ED-4E60AB2EACC1}" dt="2024-07-02T07:43:04.374" v="36"/>
      <pc:docMkLst>
        <pc:docMk/>
      </pc:docMkLst>
      <pc:sldChg chg="mod modShow">
        <pc:chgData name="Hanna Seitz, MAC-CC" userId="S::hanna.seitz_schwaebisch-hall.de#ext#@hitchongmbh139.onmicrosoft.com::d90fdfbe-cca5-47ed-85d6-5cae77c5c005" providerId="AD" clId="Web-{69B2E36E-76F0-78DE-53ED-4E60AB2EACC1}" dt="2024-07-02T07:43:02.030" v="35"/>
        <pc:sldMkLst>
          <pc:docMk/>
          <pc:sldMk cId="0" sldId="260"/>
        </pc:sldMkLst>
      </pc:sldChg>
      <pc:sldChg chg="mod modShow">
        <pc:chgData name="Hanna Seitz, MAC-CC" userId="S::hanna.seitz_schwaebisch-hall.de#ext#@hitchongmbh139.onmicrosoft.com::d90fdfbe-cca5-47ed-85d6-5cae77c5c005" providerId="AD" clId="Web-{69B2E36E-76F0-78DE-53ED-4E60AB2EACC1}" dt="2024-07-02T07:43:04.374" v="36"/>
        <pc:sldMkLst>
          <pc:docMk/>
          <pc:sldMk cId="42334852" sldId="266"/>
        </pc:sldMkLst>
      </pc:sldChg>
      <pc:sldChg chg="modSp add replId">
        <pc:chgData name="Hanna Seitz, MAC-CC" userId="S::hanna.seitz_schwaebisch-hall.de#ext#@hitchongmbh139.onmicrosoft.com::d90fdfbe-cca5-47ed-85d6-5cae77c5c005" providerId="AD" clId="Web-{69B2E36E-76F0-78DE-53ED-4E60AB2EACC1}" dt="2024-07-02T07:42:54.765" v="34" actId="20577"/>
        <pc:sldMkLst>
          <pc:docMk/>
          <pc:sldMk cId="1373262385" sldId="267"/>
        </pc:sldMkLst>
      </pc:sldChg>
      <pc:sldChg chg="new del">
        <pc:chgData name="Hanna Seitz, MAC-CC" userId="S::hanna.seitz_schwaebisch-hall.de#ext#@hitchongmbh139.onmicrosoft.com::d90fdfbe-cca5-47ed-85d6-5cae77c5c005" providerId="AD" clId="Web-{69B2E36E-76F0-78DE-53ED-4E60AB2EACC1}" dt="2024-07-02T07:40:41.729" v="1"/>
        <pc:sldMkLst>
          <pc:docMk/>
          <pc:sldMk cId="2992889724" sldId="267"/>
        </pc:sldMkLst>
      </pc:sldChg>
      <pc:sldChg chg="modSp add replId">
        <pc:chgData name="Hanna Seitz, MAC-CC" userId="S::hanna.seitz_schwaebisch-hall.de#ext#@hitchongmbh139.onmicrosoft.com::d90fdfbe-cca5-47ed-85d6-5cae77c5c005" providerId="AD" clId="Web-{69B2E36E-76F0-78DE-53ED-4E60AB2EACC1}" dt="2024-07-02T07:41:35.824" v="15" actId="20577"/>
        <pc:sldMkLst>
          <pc:docMk/>
          <pc:sldMk cId="2319564501" sldId="268"/>
        </pc:sldMkLst>
      </pc:sldChg>
    </pc:docChg>
  </pc:docChgLst>
  <pc:docChgLst>
    <pc:chgData name="Celine Belzer | HitchOn" userId="0c3c5689-58ec-4fa3-890c-7af096e834b0" providerId="ADAL" clId="{A6B65C2D-2D5B-42FF-BBC5-C1CA9AE29F1C}"/>
    <pc:docChg chg="undo redo custSel modSld">
      <pc:chgData name="Celine Belzer | HitchOn" userId="0c3c5689-58ec-4fa3-890c-7af096e834b0" providerId="ADAL" clId="{A6B65C2D-2D5B-42FF-BBC5-C1CA9AE29F1C}" dt="2024-07-01T12:46:57.921" v="15" actId="20577"/>
      <pc:docMkLst>
        <pc:docMk/>
      </pc:docMkLst>
      <pc:sldChg chg="modSp mod">
        <pc:chgData name="Celine Belzer | HitchOn" userId="0c3c5689-58ec-4fa3-890c-7af096e834b0" providerId="ADAL" clId="{A6B65C2D-2D5B-42FF-BBC5-C1CA9AE29F1C}" dt="2024-07-01T12:46:57.921" v="15" actId="20577"/>
        <pc:sldMkLst>
          <pc:docMk/>
          <pc:sldMk cId="0" sldId="260"/>
        </pc:sldMkLst>
      </pc:sldChg>
    </pc:docChg>
  </pc:docChgLst>
  <pc:docChgLst>
    <pc:chgData clId="Web-{C9DAAD5C-FC09-7B85-C640-7B84504B1786}"/>
    <pc:docChg chg="modSld">
      <pc:chgData name="" userId="" providerId="" clId="Web-{C9DAAD5C-FC09-7B85-C640-7B84504B1786}" dt="2025-05-27T10:33:20.279" v="3" actId="20577"/>
      <pc:docMkLst>
        <pc:docMk/>
      </pc:docMkLst>
      <pc:sldChg chg="modSp">
        <pc:chgData name="" userId="" providerId="" clId="Web-{C9DAAD5C-FC09-7B85-C640-7B84504B1786}" dt="2025-05-27T10:33:20.279" v="3" actId="20577"/>
        <pc:sldMkLst>
          <pc:docMk/>
          <pc:sldMk cId="0" sldId="256"/>
        </pc:sldMkLst>
        <pc:spChg chg="mod">
          <ac:chgData name="" userId="" providerId="" clId="Web-{C9DAAD5C-FC09-7B85-C640-7B84504B1786}" dt="2025-05-27T10:33:20.279" v="3" actId="20577"/>
          <ac:spMkLst>
            <pc:docMk/>
            <pc:sldMk cId="0" sldId="256"/>
            <ac:spMk id="9"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0AE3DE2-5E5B-4A0F-B401-AAC80C290657}" type="datetimeFigureOut">
              <a:rPr lang="de-DE" smtClean="0"/>
              <a:pPr/>
              <a:t>26.08.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95158EE2-8904-4B5E-B2F4-2E3394ADEFCC}" type="slidenum">
              <a:rPr lang="de-DE" smtClean="0"/>
              <a:pPr/>
              <a:t>‹Nr.›</a:t>
            </a:fld>
            <a:endParaRPr lang="de-DE"/>
          </a:p>
        </p:txBody>
      </p:sp>
    </p:spTree>
    <p:extLst>
      <p:ext uri="{BB962C8B-B14F-4D97-AF65-F5344CB8AC3E}">
        <p14:creationId xmlns:p14="http://schemas.microsoft.com/office/powerpoint/2010/main" val="1318794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5158EE2-8904-4B5E-B2F4-2E3394ADEFCC}" type="slidenum">
              <a:rPr lang="de-DE" smtClean="0"/>
              <a:pPr/>
              <a:t>1</a:t>
            </a:fld>
            <a:endParaRPr lang="de-DE"/>
          </a:p>
        </p:txBody>
      </p:sp>
    </p:spTree>
    <p:extLst>
      <p:ext uri="{BB962C8B-B14F-4D97-AF65-F5344CB8AC3E}">
        <p14:creationId xmlns:p14="http://schemas.microsoft.com/office/powerpoint/2010/main" val="1722001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0C99B-6646-BE20-524D-273A7D5C02D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F20704A-2B28-5B1E-8700-2C8E1B69416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7C0C511-0D5C-FEA4-4247-4B716C0C9503}"/>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CB66EDC-6F3F-B899-02D3-6512B03EC8DE}"/>
              </a:ext>
            </a:extLst>
          </p:cNvPr>
          <p:cNvSpPr>
            <a:spLocks noGrp="1"/>
          </p:cNvSpPr>
          <p:nvPr>
            <p:ph type="sldNum" sz="quarter" idx="5"/>
          </p:nvPr>
        </p:nvSpPr>
        <p:spPr/>
        <p:txBody>
          <a:bodyPr/>
          <a:lstStyle/>
          <a:p>
            <a:fld id="{95158EE2-8904-4B5E-B2F4-2E3394ADEFCC}" type="slidenum">
              <a:rPr lang="de-DE" smtClean="0"/>
              <a:pPr/>
              <a:t>10</a:t>
            </a:fld>
            <a:endParaRPr lang="de-DE"/>
          </a:p>
        </p:txBody>
      </p:sp>
    </p:spTree>
    <p:extLst>
      <p:ext uri="{BB962C8B-B14F-4D97-AF65-F5344CB8AC3E}">
        <p14:creationId xmlns:p14="http://schemas.microsoft.com/office/powerpoint/2010/main" val="2287228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C203B-DCF1-2CAA-39DE-E0711AC6093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8CA1D63-A41B-2C3E-470D-793F2E5216A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EE38733-5BEC-75B0-4697-AF1C7CBF1A5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CE75A45-4F27-C3DC-ADE5-3195791557AF}"/>
              </a:ext>
            </a:extLst>
          </p:cNvPr>
          <p:cNvSpPr>
            <a:spLocks noGrp="1"/>
          </p:cNvSpPr>
          <p:nvPr>
            <p:ph type="sldNum" sz="quarter" idx="5"/>
          </p:nvPr>
        </p:nvSpPr>
        <p:spPr/>
        <p:txBody>
          <a:bodyPr/>
          <a:lstStyle/>
          <a:p>
            <a:fld id="{95158EE2-8904-4B5E-B2F4-2E3394ADEFCC}" type="slidenum">
              <a:rPr lang="de-DE" smtClean="0"/>
              <a:pPr/>
              <a:t>11</a:t>
            </a:fld>
            <a:endParaRPr lang="de-DE"/>
          </a:p>
        </p:txBody>
      </p:sp>
    </p:spTree>
    <p:extLst>
      <p:ext uri="{BB962C8B-B14F-4D97-AF65-F5344CB8AC3E}">
        <p14:creationId xmlns:p14="http://schemas.microsoft.com/office/powerpoint/2010/main" val="2447465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5158EE2-8904-4B5E-B2F4-2E3394ADEFCC}" type="slidenum">
              <a:rPr lang="de-DE" smtClean="0"/>
              <a:pPr/>
              <a:t>12</a:t>
            </a:fld>
            <a:endParaRPr lang="de-DE"/>
          </a:p>
        </p:txBody>
      </p:sp>
    </p:spTree>
    <p:extLst>
      <p:ext uri="{BB962C8B-B14F-4D97-AF65-F5344CB8AC3E}">
        <p14:creationId xmlns:p14="http://schemas.microsoft.com/office/powerpoint/2010/main" val="2509721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EA468A-B644-FAC0-95F9-8C5BC50ABEE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A38D7E-FBEC-8AAA-453D-3A0A203DFC9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22E714C-7C1D-09A1-BA9B-32A9ED9808B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7D94F89-0DFE-A540-D8C8-89DA40B9FB0E}"/>
              </a:ext>
            </a:extLst>
          </p:cNvPr>
          <p:cNvSpPr>
            <a:spLocks noGrp="1"/>
          </p:cNvSpPr>
          <p:nvPr>
            <p:ph type="sldNum" sz="quarter" idx="5"/>
          </p:nvPr>
        </p:nvSpPr>
        <p:spPr/>
        <p:txBody>
          <a:bodyPr/>
          <a:lstStyle/>
          <a:p>
            <a:fld id="{95158EE2-8904-4B5E-B2F4-2E3394ADEFCC}" type="slidenum">
              <a:rPr lang="de-DE" smtClean="0"/>
              <a:pPr/>
              <a:t>2</a:t>
            </a:fld>
            <a:endParaRPr lang="de-DE"/>
          </a:p>
        </p:txBody>
      </p:sp>
    </p:spTree>
    <p:extLst>
      <p:ext uri="{BB962C8B-B14F-4D97-AF65-F5344CB8AC3E}">
        <p14:creationId xmlns:p14="http://schemas.microsoft.com/office/powerpoint/2010/main" val="193495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95626-077F-22AC-02B0-8950C7972F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8ECFBB-11C6-5EA8-C23B-5B6EE4B194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080B751-1071-DB99-0646-35D0F3F82FF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D0C16EC-1944-F318-ABAC-A2642E03B1CF}"/>
              </a:ext>
            </a:extLst>
          </p:cNvPr>
          <p:cNvSpPr>
            <a:spLocks noGrp="1"/>
          </p:cNvSpPr>
          <p:nvPr>
            <p:ph type="sldNum" sz="quarter" idx="5"/>
          </p:nvPr>
        </p:nvSpPr>
        <p:spPr/>
        <p:txBody>
          <a:bodyPr/>
          <a:lstStyle/>
          <a:p>
            <a:fld id="{95158EE2-8904-4B5E-B2F4-2E3394ADEFCC}" type="slidenum">
              <a:rPr lang="de-DE" smtClean="0"/>
              <a:pPr/>
              <a:t>3</a:t>
            </a:fld>
            <a:endParaRPr lang="de-DE"/>
          </a:p>
        </p:txBody>
      </p:sp>
    </p:spTree>
    <p:extLst>
      <p:ext uri="{BB962C8B-B14F-4D97-AF65-F5344CB8AC3E}">
        <p14:creationId xmlns:p14="http://schemas.microsoft.com/office/powerpoint/2010/main" val="2100186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FAD74-5DBC-6301-4C35-B5B5481FD77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1F1ADAD-6F7D-8C43-6EA0-4B388DC37EF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04AE9B3-75CD-36B5-3562-EA8FA24FCA23}"/>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3F29398-FD41-B5AC-72EA-30D091CCC45A}"/>
              </a:ext>
            </a:extLst>
          </p:cNvPr>
          <p:cNvSpPr>
            <a:spLocks noGrp="1"/>
          </p:cNvSpPr>
          <p:nvPr>
            <p:ph type="sldNum" sz="quarter" idx="5"/>
          </p:nvPr>
        </p:nvSpPr>
        <p:spPr/>
        <p:txBody>
          <a:bodyPr/>
          <a:lstStyle/>
          <a:p>
            <a:fld id="{95158EE2-8904-4B5E-B2F4-2E3394ADEFCC}" type="slidenum">
              <a:rPr lang="de-DE" smtClean="0"/>
              <a:pPr/>
              <a:t>4</a:t>
            </a:fld>
            <a:endParaRPr lang="de-DE"/>
          </a:p>
        </p:txBody>
      </p:sp>
    </p:spTree>
    <p:extLst>
      <p:ext uri="{BB962C8B-B14F-4D97-AF65-F5344CB8AC3E}">
        <p14:creationId xmlns:p14="http://schemas.microsoft.com/office/powerpoint/2010/main" val="2777329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E0CBC-42C9-AB7B-79DE-D873AD3DF4B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3982D4-FDD4-043F-54A1-2C6AF48F0A8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4F05A91-C180-3890-B372-D075498C9727}"/>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AFF5703-D5D9-0C34-BC68-0CD981CFFE19}"/>
              </a:ext>
            </a:extLst>
          </p:cNvPr>
          <p:cNvSpPr>
            <a:spLocks noGrp="1"/>
          </p:cNvSpPr>
          <p:nvPr>
            <p:ph type="sldNum" sz="quarter" idx="5"/>
          </p:nvPr>
        </p:nvSpPr>
        <p:spPr/>
        <p:txBody>
          <a:bodyPr/>
          <a:lstStyle/>
          <a:p>
            <a:fld id="{95158EE2-8904-4B5E-B2F4-2E3394ADEFCC}" type="slidenum">
              <a:rPr lang="de-DE" smtClean="0"/>
              <a:pPr/>
              <a:t>5</a:t>
            </a:fld>
            <a:endParaRPr lang="de-DE"/>
          </a:p>
        </p:txBody>
      </p:sp>
    </p:spTree>
    <p:extLst>
      <p:ext uri="{BB962C8B-B14F-4D97-AF65-F5344CB8AC3E}">
        <p14:creationId xmlns:p14="http://schemas.microsoft.com/office/powerpoint/2010/main" val="132521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43A12-93FA-5433-6160-0C293447289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BFFCA7-AEDF-91CD-88D9-A3B8AE6DD0D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A25DE7A-D833-D59A-4D22-AAA971422237}"/>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6584B95-3CD8-1A91-61C5-E96F84FCA493}"/>
              </a:ext>
            </a:extLst>
          </p:cNvPr>
          <p:cNvSpPr>
            <a:spLocks noGrp="1"/>
          </p:cNvSpPr>
          <p:nvPr>
            <p:ph type="sldNum" sz="quarter" idx="5"/>
          </p:nvPr>
        </p:nvSpPr>
        <p:spPr/>
        <p:txBody>
          <a:bodyPr/>
          <a:lstStyle/>
          <a:p>
            <a:fld id="{95158EE2-8904-4B5E-B2F4-2E3394ADEFCC}" type="slidenum">
              <a:rPr lang="de-DE" smtClean="0"/>
              <a:pPr/>
              <a:t>6</a:t>
            </a:fld>
            <a:endParaRPr lang="de-DE"/>
          </a:p>
        </p:txBody>
      </p:sp>
    </p:spTree>
    <p:extLst>
      <p:ext uri="{BB962C8B-B14F-4D97-AF65-F5344CB8AC3E}">
        <p14:creationId xmlns:p14="http://schemas.microsoft.com/office/powerpoint/2010/main" val="27801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FF8E7-EAF8-25A4-76A7-133EB41397A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0017586-5D2B-F101-B7B2-2CABE0EC7A5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7C1ACCC-2553-A159-EA03-20062DF431D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7836C560-0D40-3F14-04EB-E786360A13BD}"/>
              </a:ext>
            </a:extLst>
          </p:cNvPr>
          <p:cNvSpPr>
            <a:spLocks noGrp="1"/>
          </p:cNvSpPr>
          <p:nvPr>
            <p:ph type="sldNum" sz="quarter" idx="5"/>
          </p:nvPr>
        </p:nvSpPr>
        <p:spPr/>
        <p:txBody>
          <a:bodyPr/>
          <a:lstStyle/>
          <a:p>
            <a:fld id="{95158EE2-8904-4B5E-B2F4-2E3394ADEFCC}" type="slidenum">
              <a:rPr lang="de-DE" smtClean="0"/>
              <a:pPr/>
              <a:t>7</a:t>
            </a:fld>
            <a:endParaRPr lang="de-DE"/>
          </a:p>
        </p:txBody>
      </p:sp>
    </p:spTree>
    <p:extLst>
      <p:ext uri="{BB962C8B-B14F-4D97-AF65-F5344CB8AC3E}">
        <p14:creationId xmlns:p14="http://schemas.microsoft.com/office/powerpoint/2010/main" val="1168168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30AAF-7384-97BE-7BD6-B6FADB0A763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D5E7EE2-0A2C-16E6-A70F-329CD2E3FE8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A3F134B-A4FA-3170-F2D5-DDC2F48CBC5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BDB0CE78-CF30-91FF-1500-87120CC6CC44}"/>
              </a:ext>
            </a:extLst>
          </p:cNvPr>
          <p:cNvSpPr>
            <a:spLocks noGrp="1"/>
          </p:cNvSpPr>
          <p:nvPr>
            <p:ph type="sldNum" sz="quarter" idx="5"/>
          </p:nvPr>
        </p:nvSpPr>
        <p:spPr/>
        <p:txBody>
          <a:bodyPr/>
          <a:lstStyle/>
          <a:p>
            <a:fld id="{95158EE2-8904-4B5E-B2F4-2E3394ADEFCC}" type="slidenum">
              <a:rPr lang="de-DE" smtClean="0"/>
              <a:pPr/>
              <a:t>8</a:t>
            </a:fld>
            <a:endParaRPr lang="de-DE"/>
          </a:p>
        </p:txBody>
      </p:sp>
    </p:spTree>
    <p:extLst>
      <p:ext uri="{BB962C8B-B14F-4D97-AF65-F5344CB8AC3E}">
        <p14:creationId xmlns:p14="http://schemas.microsoft.com/office/powerpoint/2010/main" val="3660229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22469-3835-F865-6FA7-496B8B9116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D5944A-6F0B-C7A5-862B-D4AC9FE6EDF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5B2DC94-19D5-6320-C6F2-6135BDB3345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277F2F78-E603-93EB-0BBF-BEF80A764D67}"/>
              </a:ext>
            </a:extLst>
          </p:cNvPr>
          <p:cNvSpPr>
            <a:spLocks noGrp="1"/>
          </p:cNvSpPr>
          <p:nvPr>
            <p:ph type="sldNum" sz="quarter" idx="5"/>
          </p:nvPr>
        </p:nvSpPr>
        <p:spPr/>
        <p:txBody>
          <a:bodyPr/>
          <a:lstStyle/>
          <a:p>
            <a:fld id="{95158EE2-8904-4B5E-B2F4-2E3394ADEFCC}" type="slidenum">
              <a:rPr lang="de-DE" smtClean="0"/>
              <a:pPr/>
              <a:t>9</a:t>
            </a:fld>
            <a:endParaRPr lang="de-DE"/>
          </a:p>
        </p:txBody>
      </p:sp>
    </p:spTree>
    <p:extLst>
      <p:ext uri="{BB962C8B-B14F-4D97-AF65-F5344CB8AC3E}">
        <p14:creationId xmlns:p14="http://schemas.microsoft.com/office/powerpoint/2010/main" val="28887027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0A79870-557B-3EB2-C023-293CBAD6B569}"/>
              </a:ext>
            </a:extLst>
          </p:cNvPr>
          <p:cNvGraphicFramePr>
            <a:graphicFrameLocks noChangeAspect="1"/>
          </p:cNvGraphicFramePr>
          <p:nvPr userDrawn="1">
            <p:custDataLst>
              <p:tags r:id="rId1"/>
            </p:custDataLst>
            <p:extLst>
              <p:ext uri="{D42A27DB-BD31-4B8C-83A1-F6EECF244321}">
                <p14:modId xmlns:p14="http://schemas.microsoft.com/office/powerpoint/2010/main" val="57756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0A79870-557B-3EB2-C023-293CBAD6B5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vert="horz"/>
          <a:lstStyle>
            <a:lvl1pPr rtl="0">
              <a:defRPr/>
            </a:lvl1pPr>
          </a:lstStyle>
          <a:p>
            <a:r>
              <a:rPr lang="de-DE"/>
              <a:t>Mastertitelformat bearbeiten</a:t>
            </a:r>
          </a:p>
        </p:txBody>
      </p:sp>
      <p:sp>
        <p:nvSpPr>
          <p:cNvPr id="3" name="Subtitle 2"/>
          <p:cNvSpPr>
            <a:spLocks noGrp="1"/>
          </p:cNvSpPr>
          <p:nvPr>
            <p:ph type="subTitle" idx="1"/>
          </p:nvPr>
        </p:nvSpPr>
        <p:spPr>
          <a:xfrm>
            <a:off x="1371600" y="3886200"/>
            <a:ext cx="6400800" cy="1752600"/>
          </a:xfrm>
        </p:spPr>
        <p:txBody>
          <a:bodyPr/>
          <a:lstStyle>
            <a:lvl1pPr marL="0" indent="0" algn="ctr" rtl="0">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09696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F74E7D-CBFD-D80F-F09C-2C48FCA7908A}"/>
              </a:ext>
            </a:extLst>
          </p:cNvPr>
          <p:cNvGraphicFramePr>
            <a:graphicFrameLocks noChangeAspect="1"/>
          </p:cNvGraphicFramePr>
          <p:nvPr userDrawn="1">
            <p:custDataLst>
              <p:tags r:id="rId1"/>
            </p:custDataLst>
            <p:extLst>
              <p:ext uri="{D42A27DB-BD31-4B8C-83A1-F6EECF244321}">
                <p14:modId xmlns:p14="http://schemas.microsoft.com/office/powerpoint/2010/main" val="63704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D0F74E7D-CBFD-D80F-F09C-2C48FCA79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Vertical Text Placeholder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977669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7B87FA-AD07-0580-7068-313FF07AE23E}"/>
              </a:ext>
            </a:extLst>
          </p:cNvPr>
          <p:cNvGraphicFramePr>
            <a:graphicFrameLocks noChangeAspect="1"/>
          </p:cNvGraphicFramePr>
          <p:nvPr userDrawn="1">
            <p:custDataLst>
              <p:tags r:id="rId1"/>
            </p:custDataLst>
            <p:extLst>
              <p:ext uri="{D42A27DB-BD31-4B8C-83A1-F6EECF244321}">
                <p14:modId xmlns:p14="http://schemas.microsoft.com/office/powerpoint/2010/main" val="115259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F7B87FA-AD07-0580-7068-313FF07AE2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6629400" y="274638"/>
            <a:ext cx="2057400" cy="5851525"/>
          </a:xfrm>
        </p:spPr>
        <p:txBody>
          <a:bodyPr vert="eaVert"/>
          <a:lstStyle>
            <a:lvl1pPr rtl="0">
              <a:defRPr/>
            </a:lvl1pPr>
          </a:lstStyle>
          <a:p>
            <a:r>
              <a:rPr lang="de-DE"/>
              <a:t>Mastertitelformat bearbeiten</a:t>
            </a:r>
          </a:p>
        </p:txBody>
      </p:sp>
      <p:sp>
        <p:nvSpPr>
          <p:cNvPr id="3" name="Vertical Text Placeholder 2"/>
          <p:cNvSpPr>
            <a:spLocks noGrp="1"/>
          </p:cNvSpPr>
          <p:nvPr>
            <p:ph type="body" orient="vert" idx="1"/>
          </p:nvPr>
        </p:nvSpPr>
        <p:spPr>
          <a:xfrm>
            <a:off x="457200" y="274638"/>
            <a:ext cx="6019800" cy="5851525"/>
          </a:xfrm>
        </p:spPr>
        <p:txBody>
          <a:bodyPr vert="eaVert"/>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952980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908AC8-592A-D7FD-935F-92664FC8AB80}"/>
              </a:ext>
            </a:extLst>
          </p:cNvPr>
          <p:cNvGraphicFramePr>
            <a:graphicFrameLocks noChangeAspect="1"/>
          </p:cNvGraphicFramePr>
          <p:nvPr userDrawn="1">
            <p:custDataLst>
              <p:tags r:id="rId1"/>
            </p:custDataLst>
            <p:extLst>
              <p:ext uri="{D42A27DB-BD31-4B8C-83A1-F6EECF244321}">
                <p14:modId xmlns:p14="http://schemas.microsoft.com/office/powerpoint/2010/main" val="297661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0A908AC8-592A-D7FD-935F-92664FC8A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199F6D-358C-E288-2588-812F0E5E8CD5}"/>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DAC669FD-304E-ABB4-9108-6F677CD78EFE}"/>
              </a:ext>
            </a:extLst>
          </p:cNvPr>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4" name="Fußzeilenplatzhalter 3">
            <a:extLst>
              <a:ext uri="{FF2B5EF4-FFF2-40B4-BE49-F238E27FC236}">
                <a16:creationId xmlns:a16="http://schemas.microsoft.com/office/drawing/2014/main" id="{CE9E2376-E8E9-CB1F-CB1B-819F46176FD0}"/>
              </a:ext>
            </a:extLst>
          </p:cNvPr>
          <p:cNvSpPr>
            <a:spLocks noGrp="1"/>
          </p:cNvSpPr>
          <p:nvPr>
            <p:ph type="ftr" sz="quarter" idx="11"/>
          </p:nvPr>
        </p:nvSpPr>
        <p:spPr/>
        <p:txBody>
          <a:bodyPr/>
          <a:lstStyle>
            <a:lvl1pPr rtl="0">
              <a:defRPr/>
            </a:lvl1pPr>
          </a:lstStyle>
          <a:p>
            <a:endParaRPr lang="de-DE"/>
          </a:p>
        </p:txBody>
      </p:sp>
      <p:sp>
        <p:nvSpPr>
          <p:cNvPr id="5" name="Foliennummernplatzhalter 4">
            <a:extLst>
              <a:ext uri="{FF2B5EF4-FFF2-40B4-BE49-F238E27FC236}">
                <a16:creationId xmlns:a16="http://schemas.microsoft.com/office/drawing/2014/main" id="{298E3BC5-B166-EC1A-782A-04AE164700F1}"/>
              </a:ext>
            </a:extLst>
          </p:cNvPr>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543450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DD1CA9D-FBAB-848F-6386-3EB4129936A1}"/>
              </a:ext>
            </a:extLst>
          </p:cNvPr>
          <p:cNvGraphicFramePr>
            <a:graphicFrameLocks noChangeAspect="1"/>
          </p:cNvGraphicFramePr>
          <p:nvPr userDrawn="1">
            <p:custDataLst>
              <p:tags r:id="rId1"/>
            </p:custDataLst>
            <p:extLst>
              <p:ext uri="{D42A27DB-BD31-4B8C-83A1-F6EECF244321}">
                <p14:modId xmlns:p14="http://schemas.microsoft.com/office/powerpoint/2010/main" val="117203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DD1CA9D-FBAB-848F-6386-3EB4129936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4033912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1428F0D-2A4A-F69A-F522-BB57AABB23EF}"/>
              </a:ext>
            </a:extLst>
          </p:cNvPr>
          <p:cNvGraphicFramePr>
            <a:graphicFrameLocks noChangeAspect="1"/>
          </p:cNvGraphicFramePr>
          <p:nvPr userDrawn="1">
            <p:custDataLst>
              <p:tags r:id="rId1"/>
            </p:custDataLst>
            <p:extLst>
              <p:ext uri="{D42A27DB-BD31-4B8C-83A1-F6EECF244321}">
                <p14:modId xmlns:p14="http://schemas.microsoft.com/office/powerpoint/2010/main" val="148738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D1428F0D-2A4A-F69A-F522-BB57AABB23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22313" y="4406900"/>
            <a:ext cx="7772400" cy="1362075"/>
          </a:xfrm>
        </p:spPr>
        <p:txBody>
          <a:bodyPr vert="horz" anchor="t"/>
          <a:lstStyle>
            <a:lvl1pPr algn="l" rtl="0">
              <a:defRPr sz="4000" b="1" cap="all"/>
            </a:lvl1pPr>
          </a:lstStyle>
          <a:p>
            <a:r>
              <a:rPr lang="de-DE"/>
              <a:t>Mastertitelformat bearbeiten</a:t>
            </a:r>
          </a:p>
        </p:txBody>
      </p:sp>
      <p:sp>
        <p:nvSpPr>
          <p:cNvPr id="3" name="Text Placeholder 2"/>
          <p:cNvSpPr>
            <a:spLocks noGrp="1"/>
          </p:cNvSpPr>
          <p:nvPr>
            <p:ph type="body" idx="1"/>
          </p:nvPr>
        </p:nvSpPr>
        <p:spPr>
          <a:xfrm>
            <a:off x="722313" y="2906713"/>
            <a:ext cx="7772400" cy="1500187"/>
          </a:xfrm>
        </p:spPr>
        <p:txBody>
          <a:bodyPr anchor="b"/>
          <a:lstStyle>
            <a:lvl1pPr marL="0" indent="0" rtl="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153732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C901C42-CA95-963C-98A3-4B94D0D55178}"/>
              </a:ext>
            </a:extLst>
          </p:cNvPr>
          <p:cNvGraphicFramePr>
            <a:graphicFrameLocks noChangeAspect="1"/>
          </p:cNvGraphicFramePr>
          <p:nvPr userDrawn="1">
            <p:custDataLst>
              <p:tags r:id="rId1"/>
            </p:custDataLst>
            <p:extLst>
              <p:ext uri="{D42A27DB-BD31-4B8C-83A1-F6EECF244321}">
                <p14:modId xmlns:p14="http://schemas.microsoft.com/office/powerpoint/2010/main" val="201494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FC901C42-CA95-963C-98A3-4B94D0D55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Content Placeholder 2"/>
          <p:cNvSpPr>
            <a:spLocks noGrp="1"/>
          </p:cNvSpPr>
          <p:nvPr>
            <p:ph sz="half" idx="1"/>
          </p:nvPr>
        </p:nvSpPr>
        <p:spPr>
          <a:xfrm>
            <a:off x="457200" y="1600200"/>
            <a:ext cx="40386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2"/>
          </p:nvPr>
        </p:nvSpPr>
        <p:spPr>
          <a:xfrm>
            <a:off x="4648200" y="1600200"/>
            <a:ext cx="40386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19766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CDA344-23E9-E0EF-7BD4-6230AFF636A0}"/>
              </a:ext>
            </a:extLst>
          </p:cNvPr>
          <p:cNvGraphicFramePr>
            <a:graphicFrameLocks noChangeAspect="1"/>
          </p:cNvGraphicFramePr>
          <p:nvPr userDrawn="1">
            <p:custDataLst>
              <p:tags r:id="rId1"/>
            </p:custDataLst>
            <p:extLst>
              <p:ext uri="{D42A27DB-BD31-4B8C-83A1-F6EECF244321}">
                <p14:modId xmlns:p14="http://schemas.microsoft.com/office/powerpoint/2010/main" val="13479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11" name="think-cell data - do not delete" hidden="1">
                        <a:extLst>
                          <a:ext uri="{FF2B5EF4-FFF2-40B4-BE49-F238E27FC236}">
                            <a16:creationId xmlns:a16="http://schemas.microsoft.com/office/drawing/2014/main" id="{59CDA344-23E9-E0EF-7BD4-6230AFF636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Text Placeholder 2"/>
          <p:cNvSpPr>
            <a:spLocks noGrp="1"/>
          </p:cNvSpPr>
          <p:nvPr>
            <p:ph type="body" idx="1"/>
          </p:nvPr>
        </p:nvSpPr>
        <p:spPr>
          <a:xfrm>
            <a:off x="457200" y="1535113"/>
            <a:ext cx="4040188"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457200" y="2174875"/>
            <a:ext cx="4040188"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 Placeholder 4"/>
          <p:cNvSpPr>
            <a:spLocks noGrp="1"/>
          </p:cNvSpPr>
          <p:nvPr>
            <p:ph type="body" sz="quarter" idx="3"/>
          </p:nvPr>
        </p:nvSpPr>
        <p:spPr>
          <a:xfrm>
            <a:off x="4645025" y="1535113"/>
            <a:ext cx="4041775"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4645025" y="2174875"/>
            <a:ext cx="4041775"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e Placeholder 6"/>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8" name="Footer Placeholder 7"/>
          <p:cNvSpPr>
            <a:spLocks noGrp="1"/>
          </p:cNvSpPr>
          <p:nvPr>
            <p:ph type="ftr" sz="quarter" idx="11"/>
          </p:nvPr>
        </p:nvSpPr>
        <p:spPr/>
        <p:txBody>
          <a:bodyPr/>
          <a:lstStyle>
            <a:lvl1pPr rtl="0">
              <a:defRPr/>
            </a:lvl1pPr>
          </a:lstStyle>
          <a:p>
            <a:endParaRPr lang="de-DE"/>
          </a:p>
        </p:txBody>
      </p:sp>
      <p:sp>
        <p:nvSpPr>
          <p:cNvPr id="9" name="Slide Number Placeholder 8"/>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4199598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F68EF9-4530-06A0-6B1F-7651F6CEECF7}"/>
              </a:ext>
            </a:extLst>
          </p:cNvPr>
          <p:cNvGraphicFramePr>
            <a:graphicFrameLocks noChangeAspect="1"/>
          </p:cNvGraphicFramePr>
          <p:nvPr userDrawn="1">
            <p:custDataLst>
              <p:tags r:id="rId1"/>
            </p:custDataLst>
            <p:extLst>
              <p:ext uri="{D42A27DB-BD31-4B8C-83A1-F6EECF244321}">
                <p14:modId xmlns:p14="http://schemas.microsoft.com/office/powerpoint/2010/main" val="2520568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C3F68EF9-4530-06A0-6B1F-7651F6CEEC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Date Placeholder 2"/>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4" name="Footer Placeholder 3"/>
          <p:cNvSpPr>
            <a:spLocks noGrp="1"/>
          </p:cNvSpPr>
          <p:nvPr>
            <p:ph type="ftr" sz="quarter" idx="11"/>
          </p:nvPr>
        </p:nvSpPr>
        <p:spPr/>
        <p:txBody>
          <a:bodyPr/>
          <a:lstStyle>
            <a:lvl1pPr rtl="0">
              <a:defRPr/>
            </a:lvl1pPr>
          </a:lstStyle>
          <a:p>
            <a:endParaRPr lang="de-DE"/>
          </a:p>
        </p:txBody>
      </p:sp>
      <p:sp>
        <p:nvSpPr>
          <p:cNvPr id="5" name="Slide Number Placeholder 4"/>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671991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A60298-33CC-CF11-1877-312C82A0791A}"/>
              </a:ext>
            </a:extLst>
          </p:cNvPr>
          <p:cNvGraphicFramePr>
            <a:graphicFrameLocks noChangeAspect="1"/>
          </p:cNvGraphicFramePr>
          <p:nvPr userDrawn="1">
            <p:custDataLst>
              <p:tags r:id="rId1"/>
            </p:custDataLst>
            <p:extLst>
              <p:ext uri="{D42A27DB-BD31-4B8C-83A1-F6EECF244321}">
                <p14:modId xmlns:p14="http://schemas.microsoft.com/office/powerpoint/2010/main" val="279212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think-cell data - do not delete" hidden="1">
                        <a:extLst>
                          <a:ext uri="{FF2B5EF4-FFF2-40B4-BE49-F238E27FC236}">
                            <a16:creationId xmlns:a16="http://schemas.microsoft.com/office/drawing/2014/main" id="{A3A60298-33CC-CF11-1877-312C82A07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3" name="Footer Placeholder 2"/>
          <p:cNvSpPr>
            <a:spLocks noGrp="1"/>
          </p:cNvSpPr>
          <p:nvPr>
            <p:ph type="ftr" sz="quarter" idx="11"/>
          </p:nvPr>
        </p:nvSpPr>
        <p:spPr/>
        <p:txBody>
          <a:bodyPr/>
          <a:lstStyle>
            <a:lvl1pPr rtl="0">
              <a:defRPr/>
            </a:lvl1pPr>
          </a:lstStyle>
          <a:p>
            <a:endParaRPr lang="de-DE"/>
          </a:p>
        </p:txBody>
      </p:sp>
      <p:sp>
        <p:nvSpPr>
          <p:cNvPr id="4" name="Slide Number Placeholder 3"/>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554233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96AAD33-F32B-737E-64B3-2B42B64E0515}"/>
              </a:ext>
            </a:extLst>
          </p:cNvPr>
          <p:cNvGraphicFramePr>
            <a:graphicFrameLocks noChangeAspect="1"/>
          </p:cNvGraphicFramePr>
          <p:nvPr userDrawn="1">
            <p:custDataLst>
              <p:tags r:id="rId1"/>
            </p:custDataLst>
            <p:extLst>
              <p:ext uri="{D42A27DB-BD31-4B8C-83A1-F6EECF244321}">
                <p14:modId xmlns:p14="http://schemas.microsoft.com/office/powerpoint/2010/main" val="115444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C96AAD33-F32B-737E-64B3-2B42B64E05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273050"/>
            <a:ext cx="3008313" cy="1162050"/>
          </a:xfrm>
        </p:spPr>
        <p:txBody>
          <a:bodyPr vert="horz" anchor="b"/>
          <a:lstStyle>
            <a:lvl1pPr algn="l" rtl="0">
              <a:defRPr sz="2000" b="1"/>
            </a:lvl1pPr>
          </a:lstStyle>
          <a:p>
            <a:r>
              <a:rPr lang="de-DE"/>
              <a:t>Mastertitelformat bearbeiten</a:t>
            </a:r>
          </a:p>
        </p:txBody>
      </p:sp>
      <p:sp>
        <p:nvSpPr>
          <p:cNvPr id="3" name="Content Placeholder 2"/>
          <p:cNvSpPr>
            <a:spLocks noGrp="1"/>
          </p:cNvSpPr>
          <p:nvPr>
            <p:ph idx="1"/>
          </p:nvPr>
        </p:nvSpPr>
        <p:spPr>
          <a:xfrm>
            <a:off x="3575050" y="273050"/>
            <a:ext cx="5111750" cy="5853113"/>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 Placeholder 3"/>
          <p:cNvSpPr>
            <a:spLocks noGrp="1"/>
          </p:cNvSpPr>
          <p:nvPr>
            <p:ph type="body" sz="half" idx="2"/>
          </p:nvPr>
        </p:nvSpPr>
        <p:spPr>
          <a:xfrm>
            <a:off x="457200" y="1435100"/>
            <a:ext cx="3008313" cy="46910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629699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A4B9CA-AF26-4963-C222-E091962641D9}"/>
              </a:ext>
            </a:extLst>
          </p:cNvPr>
          <p:cNvGraphicFramePr>
            <a:graphicFrameLocks noChangeAspect="1"/>
          </p:cNvGraphicFramePr>
          <p:nvPr userDrawn="1">
            <p:custDataLst>
              <p:tags r:id="rId1"/>
            </p:custDataLst>
            <p:extLst>
              <p:ext uri="{D42A27DB-BD31-4B8C-83A1-F6EECF244321}">
                <p14:modId xmlns:p14="http://schemas.microsoft.com/office/powerpoint/2010/main" val="93006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DBA4B9CA-AF26-4963-C222-E09196264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792288" y="4800600"/>
            <a:ext cx="5486400" cy="566738"/>
          </a:xfrm>
        </p:spPr>
        <p:txBody>
          <a:bodyPr vert="horz" anchor="b"/>
          <a:lstStyle>
            <a:lvl1pPr algn="l" rtl="0">
              <a:defRPr sz="2000" b="1"/>
            </a:lvl1pPr>
          </a:lstStyle>
          <a:p>
            <a:r>
              <a:rPr lang="de-DE"/>
              <a:t>Mastertitelformat bearbeiten</a:t>
            </a:r>
          </a:p>
        </p:txBody>
      </p:sp>
      <p:sp>
        <p:nvSpPr>
          <p:cNvPr id="3" name="Picture Placeholder 2"/>
          <p:cNvSpPr>
            <a:spLocks noGrp="1"/>
          </p:cNvSpPr>
          <p:nvPr>
            <p:ph type="pic" idx="1"/>
          </p:nvPr>
        </p:nvSpPr>
        <p:spPr>
          <a:xfrm>
            <a:off x="1792288" y="612775"/>
            <a:ext cx="5486400" cy="41148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 Placeholder 3"/>
          <p:cNvSpPr>
            <a:spLocks noGrp="1"/>
          </p:cNvSpPr>
          <p:nvPr>
            <p:ph type="body" sz="half" idx="2"/>
          </p:nvPr>
        </p:nvSpPr>
        <p:spPr>
          <a:xfrm>
            <a:off x="1792288" y="5367338"/>
            <a:ext cx="5486400" cy="804862"/>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26.08.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984739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743EC0-3DB0-799E-CF15-32127F84168B}"/>
              </a:ext>
            </a:extLst>
          </p:cNvPr>
          <p:cNvGraphicFramePr>
            <a:graphicFrameLocks noChangeAspect="1"/>
          </p:cNvGraphicFramePr>
          <p:nvPr userDrawn="1">
            <p:custDataLst>
              <p:tags r:id="rId14"/>
            </p:custDataLst>
            <p:extLst>
              <p:ext uri="{D42A27DB-BD31-4B8C-83A1-F6EECF244321}">
                <p14:modId xmlns:p14="http://schemas.microsoft.com/office/powerpoint/2010/main" val="318329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95" imgH="396" progId="TCLayout.ActiveDocument.1">
                  <p:embed/>
                </p:oleObj>
              </mc:Choice>
              <mc:Fallback>
                <p:oleObj name="think-cell Folie" r:id="rId15" imgW="395" imgH="396" progId="TCLayout.ActiveDocument.1">
                  <p:embed/>
                  <p:pic>
                    <p:nvPicPr>
                      <p:cNvPr id="8" name="think-cell data - do not delete" hidden="1">
                        <a:extLst>
                          <a:ext uri="{FF2B5EF4-FFF2-40B4-BE49-F238E27FC236}">
                            <a16:creationId xmlns:a16="http://schemas.microsoft.com/office/drawing/2014/main" id="{21743EC0-3DB0-799E-CF15-32127F84168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Mastertitelformat bearbeiten</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1D8BD707-D9CF-40AE-B4C6-C98DA3205C09}" type="datetimeFigureOut">
              <a:rPr lang="de-DE" smtClean="0"/>
              <a:pPr/>
              <a:t>26.08.2025</a:t>
            </a:fld>
            <a:endParaRPr lang="de-DE"/>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38371563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sv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0.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1.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7.sv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3.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6.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7.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8.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9.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02D"/>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1567A0F-4B8F-7AC5-4578-047B1BAB7B17}"/>
              </a:ext>
            </a:extLst>
          </p:cNvPr>
          <p:cNvGraphicFramePr>
            <a:graphicFrameLocks noChangeAspect="1"/>
          </p:cNvGraphicFramePr>
          <p:nvPr>
            <p:custDataLst>
              <p:tags r:id="rId1"/>
            </p:custDataLst>
            <p:extLst>
              <p:ext uri="{D42A27DB-BD31-4B8C-83A1-F6EECF244321}">
                <p14:modId xmlns:p14="http://schemas.microsoft.com/office/powerpoint/2010/main" val="3335883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10" name="think-cell data - do not delete" hidden="1">
                        <a:extLst>
                          <a:ext uri="{FF2B5EF4-FFF2-40B4-BE49-F238E27FC236}">
                            <a16:creationId xmlns:a16="http://schemas.microsoft.com/office/drawing/2014/main" id="{C1567A0F-4B8F-7AC5-4578-047B1BAB7B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8631832" y="0"/>
            <a:ext cx="9674249" cy="10287000"/>
            <a:chOff x="0" y="0"/>
            <a:chExt cx="2547950" cy="2709333"/>
          </a:xfrm>
        </p:grpSpPr>
        <p:sp>
          <p:nvSpPr>
            <p:cNvPr id="3" name="Freeform 3"/>
            <p:cNvSpPr/>
            <p:nvPr/>
          </p:nvSpPr>
          <p:spPr>
            <a:xfrm>
              <a:off x="0" y="0"/>
              <a:ext cx="2547950" cy="2709333"/>
            </a:xfrm>
            <a:custGeom>
              <a:avLst/>
              <a:gdLst/>
              <a:ahLst/>
              <a:cxnLst/>
              <a:rect l="l" t="t" r="r" b="b"/>
              <a:pathLst>
                <a:path w="2547950" h="2709333">
                  <a:moveTo>
                    <a:pt x="0" y="0"/>
                  </a:moveTo>
                  <a:lnTo>
                    <a:pt x="2547950" y="0"/>
                  </a:lnTo>
                  <a:lnTo>
                    <a:pt x="2547950" y="2709333"/>
                  </a:lnTo>
                  <a:lnTo>
                    <a:pt x="0" y="2709333"/>
                  </a:lnTo>
                  <a:close/>
                </a:path>
              </a:pathLst>
            </a:custGeom>
            <a:solidFill>
              <a:srgbClr val="FFFFFF"/>
            </a:solidFill>
          </p:spPr>
          <p:txBody>
            <a:bodyPr/>
            <a:lstStyle/>
            <a:p>
              <a:endParaRPr lang="de-DE"/>
            </a:p>
          </p:txBody>
        </p:sp>
        <p:sp>
          <p:nvSpPr>
            <p:cNvPr id="4" name="TextBox 4"/>
            <p:cNvSpPr txBox="1"/>
            <p:nvPr/>
          </p:nvSpPr>
          <p:spPr>
            <a:xfrm>
              <a:off x="0" y="-47625"/>
              <a:ext cx="2547950" cy="2756958"/>
            </a:xfrm>
            <a:prstGeom prst="rect">
              <a:avLst/>
            </a:prstGeom>
          </p:spPr>
          <p:txBody>
            <a:bodyPr lIns="50800" tIns="50800" rIns="50800" bIns="50800" rtlCol="0" anchor="ctr"/>
            <a:lstStyle/>
            <a:p>
              <a:pPr algn="ctr">
                <a:lnSpc>
                  <a:spcPts val="3535"/>
                </a:lnSpc>
              </a:pPr>
              <a:endParaRPr lang="de-DE"/>
            </a:p>
          </p:txBody>
        </p:sp>
      </p:grpSp>
      <p:grpSp>
        <p:nvGrpSpPr>
          <p:cNvPr id="6" name="Group 6"/>
          <p:cNvGrpSpPr/>
          <p:nvPr/>
        </p:nvGrpSpPr>
        <p:grpSpPr>
          <a:xfrm>
            <a:off x="1251229" y="3408737"/>
            <a:ext cx="6453868" cy="3473248"/>
            <a:chOff x="0" y="0"/>
            <a:chExt cx="8605157" cy="4630996"/>
          </a:xfrm>
        </p:grpSpPr>
        <p:sp>
          <p:nvSpPr>
            <p:cNvPr id="7" name="TextBox 7"/>
            <p:cNvSpPr txBox="1"/>
            <p:nvPr/>
          </p:nvSpPr>
          <p:spPr>
            <a:xfrm>
              <a:off x="0" y="1198593"/>
              <a:ext cx="8605157" cy="2333625"/>
            </a:xfrm>
            <a:prstGeom prst="rect">
              <a:avLst/>
            </a:prstGeom>
          </p:spPr>
          <p:txBody>
            <a:bodyPr lIns="0" tIns="0" rIns="0" bIns="0" rtlCol="0" anchor="t">
              <a:spAutoFit/>
            </a:bodyPr>
            <a:lstStyle/>
            <a:p>
              <a:pPr>
                <a:lnSpc>
                  <a:spcPts val="13200"/>
                </a:lnSpc>
              </a:pPr>
              <a:r>
                <a:rPr lang="de-DE" sz="12000" spc="-240">
                  <a:solidFill>
                    <a:srgbClr val="000000"/>
                  </a:solidFill>
                  <a:latin typeface="Fuchs Black" pitchFamily="2" charset="0"/>
                </a:rPr>
                <a:t>Briefing</a:t>
              </a:r>
            </a:p>
          </p:txBody>
        </p:sp>
        <p:sp>
          <p:nvSpPr>
            <p:cNvPr id="8" name="TextBox 8"/>
            <p:cNvSpPr txBox="1"/>
            <p:nvPr/>
          </p:nvSpPr>
          <p:spPr>
            <a:xfrm>
              <a:off x="0" y="0"/>
              <a:ext cx="8605157" cy="508000"/>
            </a:xfrm>
            <a:prstGeom prst="rect">
              <a:avLst/>
            </a:prstGeom>
          </p:spPr>
          <p:txBody>
            <a:bodyPr lIns="0" tIns="0" rIns="0" bIns="0" rtlCol="0" anchor="t">
              <a:spAutoFit/>
            </a:bodyPr>
            <a:lstStyle/>
            <a:p>
              <a:pPr>
                <a:lnSpc>
                  <a:spcPts val="3000"/>
                </a:lnSpc>
              </a:pPr>
              <a:r>
                <a:rPr lang="de-DE" sz="2800" spc="75" dirty="0">
                  <a:solidFill>
                    <a:srgbClr val="000000"/>
                  </a:solidFill>
                  <a:latin typeface="Fuchs"/>
                </a:rPr>
                <a:t>August 2025</a:t>
              </a:r>
            </a:p>
          </p:txBody>
        </p:sp>
        <p:sp>
          <p:nvSpPr>
            <p:cNvPr id="9" name="TextBox 9"/>
            <p:cNvSpPr txBox="1"/>
            <p:nvPr/>
          </p:nvSpPr>
          <p:spPr>
            <a:xfrm>
              <a:off x="0" y="4118035"/>
              <a:ext cx="8605157" cy="512961"/>
            </a:xfrm>
            <a:prstGeom prst="rect">
              <a:avLst/>
            </a:prstGeom>
          </p:spPr>
          <p:txBody>
            <a:bodyPr lIns="0" tIns="0" rIns="0" bIns="0" rtlCol="0" anchor="t">
              <a:spAutoFit/>
            </a:bodyPr>
            <a:lstStyle/>
            <a:p>
              <a:pPr>
                <a:lnSpc>
                  <a:spcPts val="3000"/>
                </a:lnSpc>
              </a:pPr>
              <a:r>
                <a:rPr lang="de-DE" sz="3200" dirty="0">
                  <a:latin typeface="Fuchs"/>
                  <a:ea typeface="Calibri"/>
                  <a:cs typeface="Calibri"/>
                </a:rPr>
                <a:t>Zinsen</a:t>
              </a:r>
            </a:p>
          </p:txBody>
        </p:sp>
      </p:grpSp>
      <p:pic>
        <p:nvPicPr>
          <p:cNvPr id="12" name="Grafik 11">
            <a:extLst>
              <a:ext uri="{FF2B5EF4-FFF2-40B4-BE49-F238E27FC236}">
                <a16:creationId xmlns:a16="http://schemas.microsoft.com/office/drawing/2014/main" id="{77D46F18-8C39-6D6D-94A0-58DF8CC82A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86833" y="4373609"/>
            <a:ext cx="5567958" cy="153978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BEF7E-1FEF-94DB-1B4E-26A8FC55B5A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9494A18-9A4D-B1A7-339C-36DA8074C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8B8B6435-D38C-A920-783F-019DFF959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B85FC487-C338-B9D2-DC8D-17285F8C463F}"/>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BA8BB1B4-37A8-515E-8718-9FDBE741EAAD}"/>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390C3161-2A26-1B99-7BF6-C83B15E3B46C}"/>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AFF75AE6-B429-8C7A-D939-64318B177EEC}"/>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SHORT</a:t>
              </a:r>
            </a:p>
          </p:txBody>
        </p:sp>
      </p:grpSp>
      <p:pic>
        <p:nvPicPr>
          <p:cNvPr id="8" name="Grafik 7" descr="Schließendes Anführungszeichen mit einfarbiger Füllung">
            <a:extLst>
              <a:ext uri="{FF2B5EF4-FFF2-40B4-BE49-F238E27FC236}">
                <a16:creationId xmlns:a16="http://schemas.microsoft.com/office/drawing/2014/main" id="{364BFF54-F919-5C33-280B-39AAA48E41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28DC41AF-3404-2DBD-FCB6-BD777CFB36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34332916-610E-E721-62A5-B26CD0E7945B}"/>
              </a:ext>
            </a:extLst>
          </p:cNvPr>
          <p:cNvSpPr txBox="1"/>
          <p:nvPr/>
        </p:nvSpPr>
        <p:spPr>
          <a:xfrm>
            <a:off x="5450710" y="952500"/>
            <a:ext cx="11808590" cy="7486921"/>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normal‘ und fragend):</a:t>
            </a:r>
          </a:p>
          <a:p>
            <a:pPr>
              <a:lnSpc>
                <a:spcPts val="4900"/>
              </a:lnSpc>
            </a:pPr>
            <a:r>
              <a:rPr lang="de-DE" sz="3500" dirty="0">
                <a:solidFill>
                  <a:srgbClr val="000000"/>
                </a:solidFill>
                <a:latin typeface="Fuchs" pitchFamily="2" charset="0"/>
              </a:rPr>
              <a:t>Nice, aber 30 Euro mehr sind jetzt nicht viel.</a:t>
            </a:r>
            <a:endParaRPr lang="de-DE" sz="3500" i="1"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und dynamisch):</a:t>
            </a:r>
          </a:p>
          <a:p>
            <a:pPr>
              <a:lnSpc>
                <a:spcPts val="4900"/>
              </a:lnSpc>
            </a:pPr>
            <a:r>
              <a:rPr lang="de-DE" sz="3500" dirty="0">
                <a:solidFill>
                  <a:srgbClr val="000000"/>
                </a:solidFill>
                <a:latin typeface="Fuchs" pitchFamily="2" charset="0"/>
              </a:rPr>
              <a:t>True. Deswegen ist Sparen immer langfristig gedacht, denn dann profitierst du vom Zinseszins.</a:t>
            </a:r>
          </a:p>
          <a:p>
            <a:pPr>
              <a:lnSpc>
                <a:spcPts val="4900"/>
              </a:lnSpc>
            </a:pPr>
            <a:r>
              <a:rPr lang="de-DE" sz="3500" dirty="0">
                <a:solidFill>
                  <a:srgbClr val="000000"/>
                </a:solidFill>
                <a:latin typeface="Fuchs" pitchFamily="2" charset="0"/>
              </a:rPr>
              <a:t>Zinseszins heißt, auf dein Guthaben, das durch Zinsen bereits mehr geworden ist, bekommst du wieder Zinsen. Im zweiten Jahr bekommst du Zinsen auf 1030 €. Danach sind es 1060 €. Und nach 10 Jahren? 1343,92 € – ganz ohne was zu tun!</a:t>
            </a:r>
          </a:p>
          <a:p>
            <a:pPr>
              <a:lnSpc>
                <a:spcPts val="4900"/>
              </a:lnSpc>
            </a:pPr>
            <a:r>
              <a:rPr lang="de-DE" sz="3500" i="1" dirty="0">
                <a:solidFill>
                  <a:srgbClr val="000000"/>
                </a:solidFill>
                <a:latin typeface="Fuchs" pitchFamily="2" charset="0"/>
              </a:rPr>
              <a:t>Person rechts im Bild (‘normal‘ und fragend):</a:t>
            </a:r>
          </a:p>
          <a:p>
            <a:pPr>
              <a:lnSpc>
                <a:spcPts val="4900"/>
              </a:lnSpc>
            </a:pPr>
            <a:r>
              <a:rPr lang="de-DE" sz="3500" dirty="0" err="1">
                <a:solidFill>
                  <a:srgbClr val="000000"/>
                </a:solidFill>
                <a:latin typeface="Fuchs" pitchFamily="2" charset="0"/>
              </a:rPr>
              <a:t>Mega</a:t>
            </a:r>
            <a:r>
              <a:rPr lang="de-DE" sz="3500" dirty="0">
                <a:solidFill>
                  <a:srgbClr val="000000"/>
                </a:solidFill>
                <a:latin typeface="Fuchs" pitchFamily="2" charset="0"/>
              </a:rPr>
              <a:t>. Das ist echt smart.</a:t>
            </a:r>
          </a:p>
        </p:txBody>
      </p:sp>
    </p:spTree>
    <p:extLst>
      <p:ext uri="{BB962C8B-B14F-4D97-AF65-F5344CB8AC3E}">
        <p14:creationId xmlns:p14="http://schemas.microsoft.com/office/powerpoint/2010/main" val="123832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5B375-91D9-FB3F-D360-D112B3B6FD9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49EE0A2-C5C1-1F45-A369-ECF3D3D5A1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29494A18-9A4D-B1A7-339C-36DA8074C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BFCC98C2-2D52-F9DC-EA4A-9D269EBBFE92}"/>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270337EA-A2E6-D56A-1E6A-087DEB664680}"/>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4F137D71-61C0-F17E-B844-6BF50DAB2DDF}"/>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87332714-1938-2DBC-B116-29580FB4F98E}"/>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SHORT</a:t>
              </a:r>
            </a:p>
          </p:txBody>
        </p:sp>
      </p:grpSp>
      <p:pic>
        <p:nvPicPr>
          <p:cNvPr id="8" name="Grafik 7" descr="Schließendes Anführungszeichen mit einfarbiger Füllung">
            <a:extLst>
              <a:ext uri="{FF2B5EF4-FFF2-40B4-BE49-F238E27FC236}">
                <a16:creationId xmlns:a16="http://schemas.microsoft.com/office/drawing/2014/main" id="{071EB2AF-988D-D4C3-DBA1-E442764ABD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81446CC8-48F8-809B-B15A-61750EB2E4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B40C6A70-D928-5491-687D-FE83B8BF0AED}"/>
              </a:ext>
            </a:extLst>
          </p:cNvPr>
          <p:cNvSpPr txBox="1"/>
          <p:nvPr/>
        </p:nvSpPr>
        <p:spPr>
          <a:xfrm>
            <a:off x="5450710" y="952500"/>
            <a:ext cx="11808590" cy="3088281"/>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und dynamisch):</a:t>
            </a:r>
          </a:p>
          <a:p>
            <a:pPr>
              <a:lnSpc>
                <a:spcPts val="4900"/>
              </a:lnSpc>
            </a:pPr>
            <a:r>
              <a:rPr lang="de-DE" sz="3500" dirty="0">
                <a:solidFill>
                  <a:srgbClr val="000000"/>
                </a:solidFill>
                <a:latin typeface="Fuchs" pitchFamily="2" charset="0"/>
              </a:rPr>
              <a:t>Wenn du jetzt wissen willst, wie Zinsen genau funktionieren und welche Unterschiede es gibt, dann schau dir mein Tutorial an. Hier auf diesem Kanal.</a:t>
            </a:r>
          </a:p>
        </p:txBody>
      </p:sp>
    </p:spTree>
    <p:extLst>
      <p:ext uri="{BB962C8B-B14F-4D97-AF65-F5344CB8AC3E}">
        <p14:creationId xmlns:p14="http://schemas.microsoft.com/office/powerpoint/2010/main" val="1932002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EA3DE71-FC76-F882-C39E-BCE62DD34A18}"/>
              </a:ext>
            </a:extLst>
          </p:cNvPr>
          <p:cNvGraphicFramePr>
            <a:graphicFrameLocks noChangeAspect="1"/>
          </p:cNvGraphicFramePr>
          <p:nvPr>
            <p:custDataLst>
              <p:tags r:id="rId1"/>
            </p:custDataLst>
            <p:extLst>
              <p:ext uri="{D42A27DB-BD31-4B8C-83A1-F6EECF244321}">
                <p14:modId xmlns:p14="http://schemas.microsoft.com/office/powerpoint/2010/main" val="280157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think-cell data - do not delete" hidden="1">
                        <a:extLst>
                          <a:ext uri="{FF2B5EF4-FFF2-40B4-BE49-F238E27FC236}">
                            <a16:creationId xmlns:a16="http://schemas.microsoft.com/office/drawing/2014/main" id="{CEA3DE71-FC76-F882-C39E-BCE62DD34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3">
            <a:extLst>
              <a:ext uri="{FF2B5EF4-FFF2-40B4-BE49-F238E27FC236}">
                <a16:creationId xmlns:a16="http://schemas.microsoft.com/office/drawing/2014/main" id="{F785DAB9-2E28-FE75-01C9-E2C9A40701C3}"/>
              </a:ext>
            </a:extLst>
          </p:cNvPr>
          <p:cNvGrpSpPr/>
          <p:nvPr/>
        </p:nvGrpSpPr>
        <p:grpSpPr>
          <a:xfrm>
            <a:off x="11277600" y="3096580"/>
            <a:ext cx="5243130" cy="4093839"/>
            <a:chOff x="0" y="0"/>
            <a:chExt cx="6990840" cy="5458452"/>
          </a:xfrm>
        </p:grpSpPr>
        <p:sp>
          <p:nvSpPr>
            <p:cNvPr id="8" name="TextBox 4">
              <a:extLst>
                <a:ext uri="{FF2B5EF4-FFF2-40B4-BE49-F238E27FC236}">
                  <a16:creationId xmlns:a16="http://schemas.microsoft.com/office/drawing/2014/main" id="{2527438E-C8F5-2B84-266B-C0967547169A}"/>
                </a:ext>
              </a:extLst>
            </p:cNvPr>
            <p:cNvSpPr txBox="1"/>
            <p:nvPr/>
          </p:nvSpPr>
          <p:spPr>
            <a:xfrm>
              <a:off x="0" y="387985"/>
              <a:ext cx="6990840" cy="3275330"/>
            </a:xfrm>
            <a:prstGeom prst="rect">
              <a:avLst/>
            </a:prstGeom>
          </p:spPr>
          <p:txBody>
            <a:bodyPr lIns="0" tIns="0" rIns="0" bIns="0" rtlCol="0" anchor="t">
              <a:spAutoFit/>
            </a:bodyPr>
            <a:lstStyle/>
            <a:p>
              <a:pPr marL="0" lvl="0" indent="0">
                <a:lnSpc>
                  <a:spcPts val="9847"/>
                </a:lnSpc>
              </a:pPr>
              <a:r>
                <a:rPr lang="de-DE" sz="7575" spc="-227">
                  <a:solidFill>
                    <a:srgbClr val="E6002D"/>
                  </a:solidFill>
                  <a:latin typeface="Fuchs Black" pitchFamily="2" charset="0"/>
                </a:rPr>
                <a:t>Wir sind gespannt!</a:t>
              </a:r>
            </a:p>
          </p:txBody>
        </p:sp>
        <p:sp>
          <p:nvSpPr>
            <p:cNvPr id="9" name="TextBox 5">
              <a:extLst>
                <a:ext uri="{FF2B5EF4-FFF2-40B4-BE49-F238E27FC236}">
                  <a16:creationId xmlns:a16="http://schemas.microsoft.com/office/drawing/2014/main" id="{9744BB0E-383B-75CA-DAB2-F43ABA3FE166}"/>
                </a:ext>
              </a:extLst>
            </p:cNvPr>
            <p:cNvSpPr txBox="1"/>
            <p:nvPr/>
          </p:nvSpPr>
          <p:spPr>
            <a:xfrm>
              <a:off x="0" y="4782177"/>
              <a:ext cx="6990840" cy="676275"/>
            </a:xfrm>
            <a:prstGeom prst="rect">
              <a:avLst/>
            </a:prstGeom>
          </p:spPr>
          <p:txBody>
            <a:bodyPr lIns="0" tIns="0" rIns="0" bIns="0" rtlCol="0" anchor="t">
              <a:spAutoFit/>
            </a:bodyPr>
            <a:lstStyle/>
            <a:p>
              <a:pPr>
                <a:lnSpc>
                  <a:spcPts val="4200"/>
                </a:lnSpc>
                <a:spcBef>
                  <a:spcPct val="0"/>
                </a:spcBef>
              </a:pPr>
              <a:r>
                <a:rPr lang="de-DE" sz="3000">
                  <a:solidFill>
                    <a:srgbClr val="000000"/>
                  </a:solidFill>
                  <a:latin typeface="Fuchs" pitchFamily="2" charset="0"/>
                </a:rPr>
                <a:t>Viel Spaß!</a:t>
              </a:r>
            </a:p>
          </p:txBody>
        </p:sp>
      </p:grpSp>
      <p:pic>
        <p:nvPicPr>
          <p:cNvPr id="5" name="Grafik 4">
            <a:extLst>
              <a:ext uri="{FF2B5EF4-FFF2-40B4-BE49-F238E27FC236}">
                <a16:creationId xmlns:a16="http://schemas.microsoft.com/office/drawing/2014/main" id="{684639E6-7851-779E-835A-17B7CD49F9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67270" y="3882165"/>
            <a:ext cx="6929258" cy="252267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592BC-1FFF-C73A-54F9-D41E75ABBD1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40547F6-A2C6-2724-5608-585FACC42B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640547F6-A2C6-2724-5608-585FACC42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93B3CBF9-F18A-BEF6-F7A3-4ED646F3F06F}"/>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6A883976-1A41-7E40-CBD6-B561C76E0DAF}"/>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9F06FC89-2B06-B4EC-C7B2-93B9A9BE0CEE}"/>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155709C4-A993-D266-8960-6EF2D698E6B0}"/>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AA59D1C8-DFC9-1319-67B4-F7FC8071A3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31773EBA-885C-C10D-404B-F8059F92BE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45F101F9-1B8C-75EC-DE3D-9C198385E214}"/>
              </a:ext>
            </a:extLst>
          </p:cNvPr>
          <p:cNvSpPr txBox="1"/>
          <p:nvPr/>
        </p:nvSpPr>
        <p:spPr>
          <a:xfrm>
            <a:off x="5450710" y="952500"/>
            <a:ext cx="11808590" cy="7506029"/>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Hook &amp; Intro</a:t>
            </a:r>
          </a:p>
          <a:p>
            <a:pPr>
              <a:lnSpc>
                <a:spcPts val="4900"/>
              </a:lnSpc>
            </a:pPr>
            <a:r>
              <a:rPr lang="de-DE" sz="3500" dirty="0">
                <a:solidFill>
                  <a:srgbClr val="000000"/>
                </a:solidFill>
                <a:latin typeface="Fuchs" pitchFamily="2" charset="0"/>
              </a:rPr>
              <a:t>Hey, lass mal über Zinsen reden. </a:t>
            </a:r>
            <a:r>
              <a:rPr lang="de-DE" sz="3500" i="1" dirty="0">
                <a:solidFill>
                  <a:srgbClr val="000000"/>
                </a:solidFill>
                <a:latin typeface="Fuchs" pitchFamily="2" charset="0"/>
              </a:rPr>
              <a:t>(lustige Einblendung z.B. passendes Meme)</a:t>
            </a:r>
          </a:p>
          <a:p>
            <a:pPr>
              <a:lnSpc>
                <a:spcPts val="4900"/>
              </a:lnSpc>
            </a:pPr>
            <a:endParaRPr lang="de-DE" sz="3500" i="1" dirty="0">
              <a:solidFill>
                <a:srgbClr val="000000"/>
              </a:solidFill>
              <a:latin typeface="Fuchs" pitchFamily="2" charset="0"/>
            </a:endParaRPr>
          </a:p>
          <a:p>
            <a:pPr>
              <a:lnSpc>
                <a:spcPts val="4900"/>
              </a:lnSpc>
            </a:pPr>
            <a:r>
              <a:rPr lang="de-DE" sz="3500" dirty="0">
                <a:solidFill>
                  <a:srgbClr val="000000"/>
                </a:solidFill>
                <a:latin typeface="Fuchs Black" pitchFamily="2" charset="0"/>
              </a:rPr>
              <a:t>Was sind Zinsen?</a:t>
            </a: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Du legst 1.000 € auf ein Konto mit 2 % Zinsen. Nach einem Jahr hast du 1.020 €.</a:t>
            </a: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Das sind ja 20 Euro mehr. Fürs nix tun.</a:t>
            </a: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Richtig. Die 20 Euro extra sind dein Zinsertrag, also deine 1.000 Euro mal 2 Prozent (Zinsen). Kurzum: Summe mal Zinsen gleich Zinsertrag. </a:t>
            </a:r>
            <a:endParaRPr lang="de-DE" sz="3500" dirty="0">
              <a:solidFill>
                <a:srgbClr val="000000"/>
              </a:solidFill>
              <a:latin typeface="Fuchs 1"/>
            </a:endParaRPr>
          </a:p>
        </p:txBody>
      </p:sp>
    </p:spTree>
    <p:extLst>
      <p:ext uri="{BB962C8B-B14F-4D97-AF65-F5344CB8AC3E}">
        <p14:creationId xmlns:p14="http://schemas.microsoft.com/office/powerpoint/2010/main" val="3189137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8A8A0-0183-C655-91C7-4E8D26FF78F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91B8D37-0293-20B6-6CF7-826184EFEF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640547F6-A2C6-2724-5608-585FACC42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E820AF11-93F4-0EB0-65F1-FCEDE626802F}"/>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17B3C13C-2754-3964-B8BE-3ADAFF43B99D}"/>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AA93F427-3987-6AFF-213C-DC76979BF1EF}"/>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DD234E60-859D-C2EB-3156-43D5A4FEF491}"/>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9A535A19-27B7-D0D2-6AA1-F83A00544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8D5630B7-D75C-7257-6066-A224514BEE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933A2844-06BB-E2FD-BB82-496CC73473C2}"/>
              </a:ext>
            </a:extLst>
          </p:cNvPr>
          <p:cNvSpPr txBox="1"/>
          <p:nvPr/>
        </p:nvSpPr>
        <p:spPr>
          <a:xfrm>
            <a:off x="5450710" y="952500"/>
            <a:ext cx="11808590" cy="9372053"/>
          </a:xfrm>
          <a:prstGeom prst="rect">
            <a:avLst/>
          </a:prstGeom>
        </p:spPr>
        <p:txBody>
          <a:bodyPr lIns="0" tIns="0" rIns="0" bIns="0" rtlCol="0" anchor="t">
            <a:spAutoFit/>
          </a:bodyPr>
          <a:lstStyle/>
          <a:p>
            <a:pPr>
              <a:lnSpc>
                <a:spcPts val="4900"/>
              </a:lnSpc>
            </a:pPr>
            <a:r>
              <a:rPr lang="de-DE" sz="3500" dirty="0">
                <a:solidFill>
                  <a:srgbClr val="000000"/>
                </a:solidFill>
                <a:latin typeface="Fuchs" pitchFamily="2" charset="0"/>
              </a:rPr>
              <a:t>Einfach gesagt: Zinsen sind eine Belohnung fürs Geld-Ausleihen. Du leihst der Bank dein Geld, damit die Bank damit arbeiten kann. Im Gegenzug zahlt die Bank dir dafür Zinsen, wodurch dein eingesetztes Geld mehr wird.</a:t>
            </a:r>
          </a:p>
          <a:p>
            <a:pPr>
              <a:lnSpc>
                <a:spcPts val="4900"/>
              </a:lnSpc>
            </a:pPr>
            <a:endParaRPr lang="de-DE" sz="3500" dirty="0">
              <a:solidFill>
                <a:srgbClr val="000000"/>
              </a:solidFill>
              <a:latin typeface="Fuchs" pitchFamily="2" charset="0"/>
            </a:endParaRPr>
          </a:p>
          <a:p>
            <a:pPr>
              <a:lnSpc>
                <a:spcPts val="4900"/>
              </a:lnSpc>
            </a:pPr>
            <a:r>
              <a:rPr lang="de-DE" sz="3500" b="1" dirty="0">
                <a:solidFill>
                  <a:srgbClr val="000000"/>
                </a:solidFill>
                <a:latin typeface="Fuchs" pitchFamily="2" charset="0"/>
              </a:rPr>
              <a:t>Wie werden Zinsen festgelegt und was beeinflusst sie?</a:t>
            </a: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Nice, aber wie viel Zinsen ich bekomme, entscheide ich ja nicht selbst. Wer legt das fest?</a:t>
            </a: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Korrekt. Zinsen orientieren sich an dem sogenannten Leitzins. Und den wiederum legen die Zentralbanken fest. Für den Euro ist die Europäische Zentralbank (EZB) verantwortlich, und für den US-Dollar die US-Notenbank ‘FED‘.</a:t>
            </a:r>
          </a:p>
          <a:p>
            <a:pPr>
              <a:lnSpc>
                <a:spcPts val="4900"/>
              </a:lnSpc>
            </a:pPr>
            <a:endParaRPr lang="de-DE" sz="3500" dirty="0">
              <a:solidFill>
                <a:srgbClr val="000000"/>
              </a:solidFill>
              <a:latin typeface="Fuchs" pitchFamily="2" charset="0"/>
            </a:endParaRPr>
          </a:p>
        </p:txBody>
      </p:sp>
    </p:spTree>
    <p:extLst>
      <p:ext uri="{BB962C8B-B14F-4D97-AF65-F5344CB8AC3E}">
        <p14:creationId xmlns:p14="http://schemas.microsoft.com/office/powerpoint/2010/main" val="878256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D8742-8007-5042-1610-129DA9B58D6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6772B22-B840-50AC-9E2C-EAC2A1FD2A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191B8D37-0293-20B6-6CF7-826184EFEF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99ACCBD6-48A8-6A0F-68B3-49C9799C57BF}"/>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69BD53F3-BDC8-6931-F856-9F6BECFDE951}"/>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E66B3744-B5C8-A20C-377C-8E932921653D}"/>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C09297B1-EBAB-B4C1-13ED-DD7E5CE40FF6}"/>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C301BB07-1188-FBE1-36AA-331D1E59A1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66B18ED2-16AB-DA60-C86E-E3761AD954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A668287C-4661-0620-294F-7D895422244E}"/>
              </a:ext>
            </a:extLst>
          </p:cNvPr>
          <p:cNvSpPr txBox="1"/>
          <p:nvPr/>
        </p:nvSpPr>
        <p:spPr>
          <a:xfrm>
            <a:off x="5450710" y="952500"/>
            <a:ext cx="11808590" cy="8743676"/>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Vereinfacht gesagt: Ist der Leitzins hoch, gibt’s mehr Zinsen. Warum? Normalerweise leihen sich Banken Geld bei EZB, um damit arbeiten zu können. Ist der Leitzins aber hoch, wird Geld-Leihen bei der EZB teurer.</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Und warum bekomme ich dann Zinsen von der Bank?</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Bringst du dein Geld zur Bank, kommt sie so günstiger an Cash ran, womit sie arbeiten kann, als über die EZB. Deswegen bekommst du Zinsen von der Bank, die sich zwar am Leitzins orientieren, aber nicht so hoch sind wie bei der EZB.</a:t>
            </a:r>
          </a:p>
        </p:txBody>
      </p:sp>
    </p:spTree>
    <p:extLst>
      <p:ext uri="{BB962C8B-B14F-4D97-AF65-F5344CB8AC3E}">
        <p14:creationId xmlns:p14="http://schemas.microsoft.com/office/powerpoint/2010/main" val="3330808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31C40-73D9-A2B5-7D1D-E89CD90001E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DBAE108-99A8-5396-776A-65A897C6C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46772B22-B840-50AC-9E2C-EAC2A1FD2A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7F6D4159-7C99-5543-241E-7B59FDCC00BB}"/>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5DC247D2-6B81-A556-1C1B-D2BBBBAB3177}"/>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0CA12DE4-A237-24DA-EA41-FD1342E3130B}"/>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98026790-135A-705A-8057-EBE150A6BC5E}"/>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61533629-624B-C96A-1622-B4276560C5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96839652-239F-BAEA-99E5-055FEDA5F8E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5B4BD953-2D91-E751-FCD4-B68AA037054D}"/>
              </a:ext>
            </a:extLst>
          </p:cNvPr>
          <p:cNvSpPr txBox="1"/>
          <p:nvPr/>
        </p:nvSpPr>
        <p:spPr>
          <a:xfrm>
            <a:off x="5450710" y="952500"/>
            <a:ext cx="11808590" cy="8743676"/>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Aber aufgepasst: ist der Leitzins niedrig, bekommst du weniger Zinsen.</a:t>
            </a:r>
          </a:p>
          <a:p>
            <a:pPr>
              <a:lnSpc>
                <a:spcPts val="4900"/>
              </a:lnSpc>
            </a:pPr>
            <a:endParaRPr lang="de-DE" sz="3500" b="1" dirty="0">
              <a:solidFill>
                <a:srgbClr val="000000"/>
              </a:solidFill>
              <a:latin typeface="Fuchs" pitchFamily="2" charset="0"/>
            </a:endParaRPr>
          </a:p>
          <a:p>
            <a:pPr>
              <a:lnSpc>
                <a:spcPts val="4900"/>
              </a:lnSpc>
            </a:pPr>
            <a:r>
              <a:rPr lang="de-DE" sz="3500" b="1" dirty="0">
                <a:solidFill>
                  <a:srgbClr val="000000"/>
                </a:solidFill>
                <a:latin typeface="Fuchs" pitchFamily="2" charset="0"/>
              </a:rPr>
              <a:t>Was machen Zinsen mit meinem Geld und was ist der Zinseszins?</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Und was bringt mir das jetzt?</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Ganz einfach: dein Geld arbeitet für dich, wenn die Zinsen stimmen. Beispiel: Du legst 1.000 € auf ein Tagesgeldkonto mit 3 % Zinsen an. Ein Jahr später hast du 1.030 Euro.</a:t>
            </a:r>
          </a:p>
        </p:txBody>
      </p:sp>
    </p:spTree>
    <p:extLst>
      <p:ext uri="{BB962C8B-B14F-4D97-AF65-F5344CB8AC3E}">
        <p14:creationId xmlns:p14="http://schemas.microsoft.com/office/powerpoint/2010/main" val="1224526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16D8C-F614-0FC1-DDD9-1A9BEB01C43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3D8794F-AE37-B2A5-EDBD-AD63D634A7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EDBAE108-99A8-5396-776A-65A897C6C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23DA557E-8A72-C61D-C470-AB104EE54B51}"/>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F7824598-099E-FBD2-C94C-68FB339505B8}"/>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EEB7E3BE-DC82-8247-7E75-9E66D855B8C2}"/>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7E729809-D108-1C0C-A234-8CA904F803B8}"/>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0136B800-6F3E-58EF-BC6E-EB2B8A5102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EAEB2828-0A10-D6E2-F7F3-D9E780597F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3F35010F-7EFC-4C8A-5203-A03E660ED7DF}"/>
              </a:ext>
            </a:extLst>
          </p:cNvPr>
          <p:cNvSpPr txBox="1"/>
          <p:nvPr/>
        </p:nvSpPr>
        <p:spPr>
          <a:xfrm>
            <a:off x="5450710" y="952500"/>
            <a:ext cx="11808590" cy="8115299"/>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Ist jetzt aber nicht wirklich viel.</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Abwarten. Jetzt kommt der </a:t>
            </a:r>
            <a:r>
              <a:rPr lang="de-DE" sz="3500" dirty="0" err="1">
                <a:solidFill>
                  <a:srgbClr val="000000"/>
                </a:solidFill>
                <a:latin typeface="Fuchs" pitchFamily="2" charset="0"/>
              </a:rPr>
              <a:t>Gamechanger</a:t>
            </a:r>
            <a:r>
              <a:rPr lang="de-DE" sz="3500" dirty="0">
                <a:solidFill>
                  <a:srgbClr val="000000"/>
                </a:solidFill>
                <a:latin typeface="Fuchs" pitchFamily="2" charset="0"/>
              </a:rPr>
              <a:t>. Nehmen wir an, im zweiten Jahr bekommst du auf deine 1.030 Euro wieder 3 Prozent Zinsen. Dann werden daraus 1.060,90 €. Zinseszins, Bro. Du bekommst also Zinsen auf deine Zinsen – und jedes Jahr wächst das „Zins-Polster“ mit.</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Nice. Und das lohnt sich dann irgendwann richtig?!</a:t>
            </a:r>
          </a:p>
        </p:txBody>
      </p:sp>
    </p:spTree>
    <p:extLst>
      <p:ext uri="{BB962C8B-B14F-4D97-AF65-F5344CB8AC3E}">
        <p14:creationId xmlns:p14="http://schemas.microsoft.com/office/powerpoint/2010/main" val="3205117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98BC6-1C1C-70EB-5AC7-6E222D8D058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5287B2D-1399-3E59-FCEB-62F1054C9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C3D8794F-AE37-B2A5-EDBD-AD63D634A7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A8C56351-E0F6-D18C-A5A4-335EB96958DC}"/>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DBD8E537-2A6B-3600-821D-9C19B9DEC2E9}"/>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9D340A88-CA93-D34B-A447-CF07864B3119}"/>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75506384-9D96-FD6B-6E09-003F28CB6764}"/>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250E8BA0-14AA-905A-AD00-791BF00967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2676ADE1-1FBE-4628-7E4D-D166C5D4F7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D3AF2BA6-A8D4-1339-89F1-8823590AB33B}"/>
              </a:ext>
            </a:extLst>
          </p:cNvPr>
          <p:cNvSpPr txBox="1"/>
          <p:nvPr/>
        </p:nvSpPr>
        <p:spPr>
          <a:xfrm>
            <a:off x="5450710" y="952500"/>
            <a:ext cx="11808590" cy="8115299"/>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a:t>
            </a:r>
            <a:r>
              <a:rPr lang="de-DE" sz="3500" dirty="0" err="1">
                <a:solidFill>
                  <a:srgbClr val="000000"/>
                </a:solidFill>
                <a:latin typeface="Fuchs" pitchFamily="2" charset="0"/>
              </a:rPr>
              <a:t>Ohh</a:t>
            </a:r>
            <a:r>
              <a:rPr lang="de-DE" sz="3500" dirty="0">
                <a:solidFill>
                  <a:srgbClr val="000000"/>
                </a:solidFill>
                <a:latin typeface="Fuchs" pitchFamily="2" charset="0"/>
              </a:rPr>
              <a:t> ja. Nach 10 Jahren wären aus 1.000 € fast 1.345 € geworden – ohne einen Cent extra einzuzahlen. Durch Nichtstun. Nur durch Zinseszins!</a:t>
            </a:r>
          </a:p>
          <a:p>
            <a:pPr>
              <a:lnSpc>
                <a:spcPts val="4900"/>
              </a:lnSpc>
            </a:pPr>
            <a:endParaRPr lang="de-DE" sz="3500" dirty="0">
              <a:solidFill>
                <a:srgbClr val="000000"/>
              </a:solidFill>
              <a:latin typeface="Fuchs" pitchFamily="2" charset="0"/>
            </a:endParaRPr>
          </a:p>
          <a:p>
            <a:pPr>
              <a:lnSpc>
                <a:spcPts val="4900"/>
              </a:lnSpc>
            </a:pPr>
            <a:r>
              <a:rPr lang="de-DE" sz="3500" b="1" dirty="0">
                <a:solidFill>
                  <a:srgbClr val="000000"/>
                </a:solidFill>
                <a:latin typeface="Fuchs" pitchFamily="2" charset="0"/>
              </a:rPr>
              <a:t>Was ist der Effektivzins?</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fragend/aufmerksam): </a:t>
            </a:r>
            <a:r>
              <a:rPr lang="de-DE" sz="3500" dirty="0">
                <a:solidFill>
                  <a:srgbClr val="000000"/>
                </a:solidFill>
                <a:latin typeface="Fuchs" pitchFamily="2" charset="0"/>
              </a:rPr>
              <a:t>Jetzt steht aber manchmal auch irgendwo was von ‘Effektivzins‘ ‘. Was ist das jetzt genau?</a:t>
            </a:r>
          </a:p>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a:t>
            </a:r>
            <a:r>
              <a:rPr lang="de-DE" sz="3500" dirty="0">
                <a:solidFill>
                  <a:srgbClr val="000000"/>
                </a:solidFill>
                <a:latin typeface="Fuchs" pitchFamily="2" charset="0"/>
              </a:rPr>
              <a:t>Ganz easy. Beim Effektivzins geht’s um Kredite. </a:t>
            </a:r>
          </a:p>
        </p:txBody>
      </p:sp>
    </p:spTree>
    <p:extLst>
      <p:ext uri="{BB962C8B-B14F-4D97-AF65-F5344CB8AC3E}">
        <p14:creationId xmlns:p14="http://schemas.microsoft.com/office/powerpoint/2010/main" val="862150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21B2A-6337-0255-3191-5B496C41481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7B6132B-9D5E-2A29-1BC5-B3585FE451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85287B2D-1399-3E59-FCEB-62F1054C9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E512A2EA-4A8E-69DE-86AB-F89E1904F898}"/>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A3B362BC-9544-F271-F08D-0257610BF4DF}"/>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1EF7E2AD-D819-2CF9-F93F-876C126F3BC9}"/>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1BD527D9-56B4-2EFA-C37A-E5FCF0DB3113}"/>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A86A74F5-1E5D-5389-F8F8-99C4719923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A2A82A07-3F9F-61E0-F399-0C5DBCD600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73C9F6A2-02F2-E36E-C3E5-9B441D4617DE}"/>
              </a:ext>
            </a:extLst>
          </p:cNvPr>
          <p:cNvSpPr txBox="1"/>
          <p:nvPr/>
        </p:nvSpPr>
        <p:spPr>
          <a:xfrm>
            <a:off x="5450710" y="952500"/>
            <a:ext cx="11808590" cy="7486921"/>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Wenn dir jemand sagt „nur 3 % Zinsen!“, aber mit Gebühren sind’s in echt 4 % – dann ist das der Effektivzins. Er zeigt dir, was du wirklich zahlst. </a:t>
            </a:r>
            <a:r>
              <a:rPr lang="de-DE" sz="3500" dirty="0" err="1">
                <a:solidFill>
                  <a:srgbClr val="000000"/>
                </a:solidFill>
                <a:latin typeface="Fuchs" pitchFamily="2" charset="0"/>
              </a:rPr>
              <a:t>Lies</a:t>
            </a:r>
            <a:r>
              <a:rPr lang="de-DE" sz="3500" dirty="0">
                <a:solidFill>
                  <a:srgbClr val="000000"/>
                </a:solidFill>
                <a:latin typeface="Fuchs" pitchFamily="2" charset="0"/>
              </a:rPr>
              <a:t> immer das Kleingedruckte!</a:t>
            </a:r>
          </a:p>
          <a:p>
            <a:pPr>
              <a:lnSpc>
                <a:spcPts val="4900"/>
              </a:lnSpc>
            </a:pPr>
            <a:endParaRPr lang="de-DE" sz="3500" i="1"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rechts im Bild (fragend/aufmerksam): </a:t>
            </a:r>
            <a:r>
              <a:rPr lang="de-DE" sz="3500" dirty="0" err="1">
                <a:solidFill>
                  <a:srgbClr val="000000"/>
                </a:solidFill>
                <a:latin typeface="Fuchs" pitchFamily="2" charset="0"/>
              </a:rPr>
              <a:t>Alright</a:t>
            </a:r>
            <a:r>
              <a:rPr lang="de-DE" sz="3500" dirty="0">
                <a:solidFill>
                  <a:srgbClr val="000000"/>
                </a:solidFill>
                <a:latin typeface="Fuchs" pitchFamily="2" charset="0"/>
              </a:rPr>
              <a:t>, check.</a:t>
            </a:r>
          </a:p>
          <a:p>
            <a:pPr>
              <a:lnSpc>
                <a:spcPts val="4900"/>
              </a:lnSpc>
            </a:pPr>
            <a:endParaRPr lang="de-DE" sz="3500" dirty="0">
              <a:solidFill>
                <a:srgbClr val="000000"/>
              </a:solidFill>
              <a:latin typeface="Fuchs" pitchFamily="2" charset="0"/>
            </a:endParaRPr>
          </a:p>
          <a:p>
            <a:pPr>
              <a:lnSpc>
                <a:spcPts val="4900"/>
              </a:lnSpc>
            </a:pPr>
            <a:r>
              <a:rPr lang="de-DE" sz="3500" b="1" dirty="0">
                <a:solidFill>
                  <a:srgbClr val="000000"/>
                </a:solidFill>
                <a:latin typeface="Fuchs" pitchFamily="2" charset="0"/>
              </a:rPr>
              <a:t>Outro und Call-</a:t>
            </a:r>
            <a:r>
              <a:rPr lang="de-DE" sz="3500" b="1" dirty="0" err="1">
                <a:solidFill>
                  <a:srgbClr val="000000"/>
                </a:solidFill>
                <a:latin typeface="Fuchs" pitchFamily="2" charset="0"/>
              </a:rPr>
              <a:t>to</a:t>
            </a:r>
            <a:r>
              <a:rPr lang="de-DE" sz="3500" b="1" dirty="0">
                <a:solidFill>
                  <a:srgbClr val="000000"/>
                </a:solidFill>
                <a:latin typeface="Fuchs" pitchFamily="2" charset="0"/>
              </a:rPr>
              <a:t>-Action:</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Zinsen können dein Geld pushen – oder dich beim Kredit kalt erwischen. Checkst du jetzt den Zinseszins? </a:t>
            </a:r>
            <a:r>
              <a:rPr lang="de-DE" sz="3500" dirty="0" err="1">
                <a:solidFill>
                  <a:srgbClr val="000000"/>
                </a:solidFill>
                <a:latin typeface="Fuchs" pitchFamily="2" charset="0"/>
              </a:rPr>
              <a:t>Schreib’s</a:t>
            </a:r>
            <a:r>
              <a:rPr lang="de-DE" sz="3500" dirty="0">
                <a:solidFill>
                  <a:srgbClr val="000000"/>
                </a:solidFill>
                <a:latin typeface="Fuchs" pitchFamily="2" charset="0"/>
              </a:rPr>
              <a:t> in die Kommentare!</a:t>
            </a:r>
          </a:p>
        </p:txBody>
      </p:sp>
    </p:spTree>
    <p:extLst>
      <p:ext uri="{BB962C8B-B14F-4D97-AF65-F5344CB8AC3E}">
        <p14:creationId xmlns:p14="http://schemas.microsoft.com/office/powerpoint/2010/main" val="2415522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BCEB3-AF87-AF6A-02D5-DA12A70BB8E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B8B6435-D38C-A920-783F-019DFF9593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97B6132B-9D5E-2A29-1BC5-B3585FE451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8C342B5A-820E-9110-E5A6-B144E51D5EED}"/>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91B5767A-B9F2-A94B-D22E-A60D4F35E006}"/>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CBFBCA0D-3423-35C6-2EAB-2ED529FA0972}"/>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783B6D73-6505-4032-6CA1-4ADE668415C6}"/>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SHORT</a:t>
              </a:r>
            </a:p>
          </p:txBody>
        </p:sp>
      </p:grpSp>
      <p:pic>
        <p:nvPicPr>
          <p:cNvPr id="8" name="Grafik 7" descr="Schließendes Anführungszeichen mit einfarbiger Füllung">
            <a:extLst>
              <a:ext uri="{FF2B5EF4-FFF2-40B4-BE49-F238E27FC236}">
                <a16:creationId xmlns:a16="http://schemas.microsoft.com/office/drawing/2014/main" id="{3155F608-F3CD-0A00-F021-AB473E8E25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B925C615-460D-6629-1473-BF47FA1197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7424970B-1926-E42C-9689-CD455FFD9C7A}"/>
              </a:ext>
            </a:extLst>
          </p:cNvPr>
          <p:cNvSpPr txBox="1"/>
          <p:nvPr/>
        </p:nvSpPr>
        <p:spPr>
          <a:xfrm>
            <a:off x="5450710" y="952500"/>
            <a:ext cx="11808590" cy="8743676"/>
          </a:xfrm>
          <a:prstGeom prst="rect">
            <a:avLst/>
          </a:prstGeom>
        </p:spPr>
        <p:txBody>
          <a:bodyPr lIns="0" tIns="0" rIns="0" bIns="0" rtlCol="0" anchor="t">
            <a:spAutoFit/>
          </a:bodyPr>
          <a:lstStyle/>
          <a:p>
            <a:pPr>
              <a:lnSpc>
                <a:spcPts val="4900"/>
              </a:lnSpc>
            </a:pPr>
            <a:endParaRPr lang="de-DE" sz="3500" dirty="0">
              <a:solidFill>
                <a:srgbClr val="000000"/>
              </a:solidFill>
              <a:latin typeface="Fuchs" pitchFamily="2" charset="0"/>
            </a:endParaRPr>
          </a:p>
          <a:p>
            <a:pPr>
              <a:lnSpc>
                <a:spcPts val="4900"/>
              </a:lnSpc>
            </a:pPr>
            <a:r>
              <a:rPr lang="de-DE" sz="3500" i="1" dirty="0">
                <a:solidFill>
                  <a:srgbClr val="000000"/>
                </a:solidFill>
                <a:latin typeface="Fuchs" pitchFamily="2" charset="0"/>
              </a:rPr>
              <a:t>Person links im Bild (locker und dynamisch):</a:t>
            </a:r>
          </a:p>
          <a:p>
            <a:pPr>
              <a:lnSpc>
                <a:spcPts val="4900"/>
              </a:lnSpc>
            </a:pPr>
            <a:r>
              <a:rPr lang="de-DE" sz="3500" dirty="0">
                <a:solidFill>
                  <a:srgbClr val="000000"/>
                </a:solidFill>
                <a:latin typeface="Fuchs" pitchFamily="2" charset="0"/>
              </a:rPr>
              <a:t>Geld auf die Seite legen und zusehen, wie’s von allein mehr wird?</a:t>
            </a:r>
          </a:p>
          <a:p>
            <a:pPr>
              <a:lnSpc>
                <a:spcPts val="4900"/>
              </a:lnSpc>
            </a:pPr>
            <a:r>
              <a:rPr lang="de-DE" sz="3500" i="1" dirty="0">
                <a:solidFill>
                  <a:srgbClr val="000000"/>
                </a:solidFill>
                <a:latin typeface="Fuchs" pitchFamily="2" charset="0"/>
              </a:rPr>
              <a:t>Person rechts im Bild (‘normal‘ und fragend):</a:t>
            </a: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Geile Sache. Wie funktioniert das?!</a:t>
            </a:r>
          </a:p>
          <a:p>
            <a:pPr>
              <a:lnSpc>
                <a:spcPts val="4900"/>
              </a:lnSpc>
            </a:pPr>
            <a:r>
              <a:rPr lang="de-DE" sz="3500" i="1" dirty="0">
                <a:solidFill>
                  <a:srgbClr val="000000"/>
                </a:solidFill>
                <a:latin typeface="Fuchs" pitchFamily="2" charset="0"/>
              </a:rPr>
              <a:t>Person links im Bild (locker und dynamisch):</a:t>
            </a: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Zinsen, Baby, Zinsen.</a:t>
            </a:r>
          </a:p>
          <a:p>
            <a:pPr>
              <a:lnSpc>
                <a:spcPts val="4900"/>
              </a:lnSpc>
            </a:pPr>
            <a:r>
              <a:rPr lang="de-DE" sz="3500" i="1" dirty="0">
                <a:solidFill>
                  <a:srgbClr val="000000"/>
                </a:solidFill>
                <a:latin typeface="Fuchs" pitchFamily="2" charset="0"/>
              </a:rPr>
              <a:t>Person rechts im Bild (‘normal‘ und fragend):</a:t>
            </a: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Erklär mal.</a:t>
            </a:r>
          </a:p>
          <a:p>
            <a:pPr>
              <a:lnSpc>
                <a:spcPts val="4900"/>
              </a:lnSpc>
            </a:pPr>
            <a:r>
              <a:rPr lang="de-DE" sz="3500" i="1" dirty="0">
                <a:solidFill>
                  <a:srgbClr val="000000"/>
                </a:solidFill>
                <a:latin typeface="Fuchs" pitchFamily="2" charset="0"/>
              </a:rPr>
              <a:t>Person links im Bild (locker und dynamisch):</a:t>
            </a: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Stell dir vor: Du legst 1000 € an – mit 3 % Zinsen pro Jahr. Nach einem Jahr hast du 1030 €. Zinsen sind quasi die Gebühr, die dir die Bank zahlt, weil du ihr dein Geld „leihst“.</a:t>
            </a:r>
          </a:p>
        </p:txBody>
      </p:sp>
    </p:spTree>
    <p:extLst>
      <p:ext uri="{BB962C8B-B14F-4D97-AF65-F5344CB8AC3E}">
        <p14:creationId xmlns:p14="http://schemas.microsoft.com/office/powerpoint/2010/main" val="3616703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ohnies_CI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ohnies_CIs" id="{67CB04CF-C359-479B-B176-E019BBF05B78}" vid="{F3A55EA0-DFDB-48CE-910F-609D51C2593F}"/>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576E4E51DF2E046B823EBD4B33523C2" ma:contentTypeVersion="14" ma:contentTypeDescription="Ein neues Dokument erstellen." ma:contentTypeScope="" ma:versionID="85f6a341a8b8ae8add7fc8ef255f541e">
  <xsd:schema xmlns:xsd="http://www.w3.org/2001/XMLSchema" xmlns:xs="http://www.w3.org/2001/XMLSchema" xmlns:p="http://schemas.microsoft.com/office/2006/metadata/properties" xmlns:ns2="664c15bb-a85d-4aa5-a64c-3adce72c38e7" xmlns:ns3="0cee2379-2e15-475e-97cc-b1d958679329" targetNamespace="http://schemas.microsoft.com/office/2006/metadata/properties" ma:root="true" ma:fieldsID="224e585e31e05fd0ca514bad91d03cbc" ns2:_="" ns3:_="">
    <xsd:import namespace="664c15bb-a85d-4aa5-a64c-3adce72c38e7"/>
    <xsd:import namespace="0cee2379-2e15-475e-97cc-b1d95867932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4c15bb-a85d-4aa5-a64c-3adce72c38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da910964-dc38-4079-8785-d5abb533053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ee2379-2e15-475e-97cc-b1d958679329"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2ff3f9a9-e52e-4aa0-bf47-856ff55305e1}" ma:internalName="TaxCatchAll" ma:showField="CatchAllData" ma:web="0cee2379-2e15-475e-97cc-b1d9586793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cee2379-2e15-475e-97cc-b1d958679329" xsi:nil="true"/>
    <lcf76f155ced4ddcb4097134ff3c332f xmlns="664c15bb-a85d-4aa5-a64c-3adce72c38e7">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7C1ECC-DCF2-45FD-A891-4FF8BF90E2B7}">
  <ds:schemaRefs>
    <ds:schemaRef ds:uri="0cee2379-2e15-475e-97cc-b1d958679329"/>
    <ds:schemaRef ds:uri="664c15bb-a85d-4aa5-a64c-3adce72c38e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A2FD9C8-7CC0-48FB-9B04-3E6D623F37FE}">
  <ds:schemaRefs>
    <ds:schemaRef ds:uri="0cee2379-2e15-475e-97cc-b1d958679329"/>
    <ds:schemaRef ds:uri="664c15bb-a85d-4aa5-a64c-3adce72c38e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DEFF790-CEBC-4D6E-A062-4D2D087EBF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ohnies_CIs</Template>
  <TotalTime>0</TotalTime>
  <Words>1016</Words>
  <Application>Microsoft Office PowerPoint</Application>
  <PresentationFormat>Benutzerdefiniert</PresentationFormat>
  <Paragraphs>117</Paragraphs>
  <Slides>12</Slides>
  <Notes>1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9" baseType="lpstr">
      <vt:lpstr>Arial</vt:lpstr>
      <vt:lpstr>Fuchs Black</vt:lpstr>
      <vt:lpstr>Fuchs</vt:lpstr>
      <vt:lpstr>Calibri</vt:lpstr>
      <vt:lpstr>Fuchs 1</vt:lpstr>
      <vt:lpstr>Wohnies_CIs</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1</dc:title>
  <dc:creator>Hanna Seitz, MAC-CC</dc:creator>
  <cp:lastModifiedBy>Lisa Rauch, MAC-CC</cp:lastModifiedBy>
  <cp:revision>693</cp:revision>
  <dcterms:created xsi:type="dcterms:W3CDTF">2006-08-16T00:00:00Z</dcterms:created>
  <dcterms:modified xsi:type="dcterms:W3CDTF">2025-08-26T07:10:15Z</dcterms:modified>
  <dc:identifier>DAF0sVywPng</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122b1c8-5473-4dd7-bc25-cbc3cc84827d_Enabled">
    <vt:lpwstr>true</vt:lpwstr>
  </property>
  <property fmtid="{D5CDD505-2E9C-101B-9397-08002B2CF9AE}" pid="3" name="MSIP_Label_d122b1c8-5473-4dd7-bc25-cbc3cc84827d_SetDate">
    <vt:lpwstr>2023-11-20T10:22:20Z</vt:lpwstr>
  </property>
  <property fmtid="{D5CDD505-2E9C-101B-9397-08002B2CF9AE}" pid="4" name="MSIP_Label_d122b1c8-5473-4dd7-bc25-cbc3cc84827d_Method">
    <vt:lpwstr>Standard</vt:lpwstr>
  </property>
  <property fmtid="{D5CDD505-2E9C-101B-9397-08002B2CF9AE}" pid="5" name="MSIP_Label_d122b1c8-5473-4dd7-bc25-cbc3cc84827d_Name">
    <vt:lpwstr>SHG-Intern</vt:lpwstr>
  </property>
  <property fmtid="{D5CDD505-2E9C-101B-9397-08002B2CF9AE}" pid="6" name="MSIP_Label_d122b1c8-5473-4dd7-bc25-cbc3cc84827d_SiteId">
    <vt:lpwstr>bc975425-3282-4beb-ad12-1cc18b1d7039</vt:lpwstr>
  </property>
  <property fmtid="{D5CDD505-2E9C-101B-9397-08002B2CF9AE}" pid="7" name="MSIP_Label_d122b1c8-5473-4dd7-bc25-cbc3cc84827d_ActionId">
    <vt:lpwstr>e1d4e2fe-a889-4c3d-941f-434ade09368c</vt:lpwstr>
  </property>
  <property fmtid="{D5CDD505-2E9C-101B-9397-08002B2CF9AE}" pid="8" name="MSIP_Label_d122b1c8-5473-4dd7-bc25-cbc3cc84827d_ContentBits">
    <vt:lpwstr>0</vt:lpwstr>
  </property>
  <property fmtid="{D5CDD505-2E9C-101B-9397-08002B2CF9AE}" pid="9" name="ContentTypeId">
    <vt:lpwstr>0x010100A576E4E51DF2E046B823EBD4B33523C2</vt:lpwstr>
  </property>
  <property fmtid="{D5CDD505-2E9C-101B-9397-08002B2CF9AE}" pid="10" name="MediaServiceImageTags">
    <vt:lpwstr/>
  </property>
</Properties>
</file>